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5197" r:id="rId1"/>
    <p:sldMasterId id="2147485402" r:id="rId2"/>
    <p:sldMasterId id="2147485388" r:id="rId3"/>
    <p:sldMasterId id="2147485392" r:id="rId4"/>
  </p:sldMasterIdLst>
  <p:notesMasterIdLst>
    <p:notesMasterId r:id="rId32"/>
  </p:notesMasterIdLst>
  <p:handoutMasterIdLst>
    <p:handoutMasterId r:id="rId33"/>
  </p:handoutMasterIdLst>
  <p:sldIdLst>
    <p:sldId id="256" r:id="rId5"/>
    <p:sldId id="543" r:id="rId6"/>
    <p:sldId id="544" r:id="rId7"/>
    <p:sldId id="558" r:id="rId8"/>
    <p:sldId id="578" r:id="rId9"/>
    <p:sldId id="568" r:id="rId10"/>
    <p:sldId id="569" r:id="rId11"/>
    <p:sldId id="559" r:id="rId12"/>
    <p:sldId id="560" r:id="rId13"/>
    <p:sldId id="561" r:id="rId14"/>
    <p:sldId id="563" r:id="rId15"/>
    <p:sldId id="564" r:id="rId16"/>
    <p:sldId id="562" r:id="rId17"/>
    <p:sldId id="565" r:id="rId18"/>
    <p:sldId id="557" r:id="rId19"/>
    <p:sldId id="567" r:id="rId20"/>
    <p:sldId id="566" r:id="rId21"/>
    <p:sldId id="570" r:id="rId22"/>
    <p:sldId id="572" r:id="rId23"/>
    <p:sldId id="573" r:id="rId24"/>
    <p:sldId id="574" r:id="rId25"/>
    <p:sldId id="571" r:id="rId26"/>
    <p:sldId id="576" r:id="rId27"/>
    <p:sldId id="580" r:id="rId28"/>
    <p:sldId id="579" r:id="rId29"/>
    <p:sldId id="575" r:id="rId30"/>
    <p:sldId id="461" r:id="rId31"/>
  </p:sldIdLst>
  <p:sldSz cx="9144000" cy="6858000" type="screen4x3"/>
  <p:notesSz cx="6858000" cy="9144000"/>
  <p:defaultTextStyle>
    <a:defPPr>
      <a:defRPr lang="en-US"/>
    </a:defPPr>
    <a:lvl1pPr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5pPr>
    <a:lvl6pPr marL="22860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6pPr>
    <a:lvl7pPr marL="27432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7pPr>
    <a:lvl8pPr marL="32004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8pPr>
    <a:lvl9pPr marL="36576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1F43"/>
    <a:srgbClr val="139AF0"/>
    <a:srgbClr val="FFFFCC"/>
    <a:srgbClr val="0020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73" autoAdjust="0"/>
    <p:restoredTop sz="79310" autoAdjust="0"/>
  </p:normalViewPr>
  <p:slideViewPr>
    <p:cSldViewPr snapToGrid="0" snapToObjects="1">
      <p:cViewPr varScale="1">
        <p:scale>
          <a:sx n="54" d="100"/>
          <a:sy n="54" d="100"/>
        </p:scale>
        <p:origin x="1904" y="40"/>
      </p:cViewPr>
      <p:guideLst>
        <p:guide orient="horz" pos="2160"/>
        <p:guide pos="2880"/>
      </p:guideLst>
    </p:cSldViewPr>
  </p:slideViewPr>
  <p:outlineViewPr>
    <p:cViewPr>
      <p:scale>
        <a:sx n="33" d="100"/>
        <a:sy n="33" d="100"/>
      </p:scale>
      <p:origin x="0" y="-252"/>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85" d="100"/>
          <a:sy n="85" d="100"/>
        </p:scale>
        <p:origin x="-376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18C1AB-77B4-4127-B202-92C789767526}" type="doc">
      <dgm:prSet loTypeId="urn:microsoft.com/office/officeart/2005/8/layout/process1" loCatId="process" qsTypeId="urn:microsoft.com/office/officeart/2005/8/quickstyle/simple1" qsCatId="simple" csTypeId="urn:microsoft.com/office/officeart/2005/8/colors/accent1_2" csCatId="accent1" phldr="1"/>
      <dgm:spPr/>
    </dgm:pt>
    <dgm:pt modelId="{14EC9257-BF22-4F77-B701-0ACB78C07739}">
      <dgm:prSet phldrT="[Text]"/>
      <dgm:spPr/>
      <dgm:t>
        <a:bodyPr/>
        <a:lstStyle/>
        <a:p>
          <a:r>
            <a:rPr lang="en-US" b="1" dirty="0"/>
            <a:t>April 1, 2015</a:t>
          </a:r>
        </a:p>
        <a:p>
          <a:r>
            <a:rPr lang="en-US" dirty="0"/>
            <a:t>Executive Order to reduce urban water use by 25%</a:t>
          </a:r>
        </a:p>
      </dgm:t>
    </dgm:pt>
    <dgm:pt modelId="{367F0181-06E1-4690-85D3-FE05F8E1F01C}" type="parTrans" cxnId="{5F943FCA-B527-4B38-A424-E9C61F96C127}">
      <dgm:prSet/>
      <dgm:spPr/>
      <dgm:t>
        <a:bodyPr/>
        <a:lstStyle/>
        <a:p>
          <a:endParaRPr lang="en-US"/>
        </a:p>
      </dgm:t>
    </dgm:pt>
    <dgm:pt modelId="{C0D7E1D3-B429-46FE-99E0-2D7515A26889}" type="sibTrans" cxnId="{5F943FCA-B527-4B38-A424-E9C61F96C127}">
      <dgm:prSet/>
      <dgm:spPr/>
      <dgm:t>
        <a:bodyPr/>
        <a:lstStyle/>
        <a:p>
          <a:endParaRPr lang="en-US"/>
        </a:p>
      </dgm:t>
    </dgm:pt>
    <dgm:pt modelId="{2223D119-C8D7-494D-A9AD-A3B2EC001D1F}">
      <dgm:prSet phldrT="[Text]"/>
      <dgm:spPr/>
      <dgm:t>
        <a:bodyPr/>
        <a:lstStyle/>
        <a:p>
          <a:r>
            <a:rPr lang="en-US" b="1" dirty="0"/>
            <a:t>May 2015</a:t>
          </a:r>
        </a:p>
        <a:p>
          <a:r>
            <a:rPr lang="en-US" dirty="0"/>
            <a:t>State Water Board emergency regulation to reduce all potable urban water supply by 25%</a:t>
          </a:r>
        </a:p>
      </dgm:t>
    </dgm:pt>
    <dgm:pt modelId="{BD841A81-F32D-461B-9803-CC13F478A47F}" type="parTrans" cxnId="{209BB397-9019-4376-BD3A-4A01F4B050FF}">
      <dgm:prSet/>
      <dgm:spPr/>
      <dgm:t>
        <a:bodyPr/>
        <a:lstStyle/>
        <a:p>
          <a:endParaRPr lang="en-US"/>
        </a:p>
      </dgm:t>
    </dgm:pt>
    <dgm:pt modelId="{5D3A67E9-2B2A-47D8-9366-A339CCD93A94}" type="sibTrans" cxnId="{209BB397-9019-4376-BD3A-4A01F4B050FF}">
      <dgm:prSet/>
      <dgm:spPr/>
      <dgm:t>
        <a:bodyPr/>
        <a:lstStyle/>
        <a:p>
          <a:endParaRPr lang="en-US"/>
        </a:p>
      </dgm:t>
    </dgm:pt>
    <dgm:pt modelId="{42CCB658-E206-46BD-A1FB-582C28241CE5}">
      <dgm:prSet phldrT="[Text]"/>
      <dgm:spPr/>
      <dgm:t>
        <a:bodyPr/>
        <a:lstStyle/>
        <a:p>
          <a:r>
            <a:rPr lang="en-US" b="1" dirty="0"/>
            <a:t>June 2015</a:t>
          </a:r>
        </a:p>
        <a:p>
          <a:r>
            <a:rPr lang="en-US" dirty="0"/>
            <a:t>Application of regulation begins (through Feb 2016)</a:t>
          </a:r>
        </a:p>
      </dgm:t>
    </dgm:pt>
    <dgm:pt modelId="{99F81FC0-E862-4E89-B165-3B5255800AFC}" type="parTrans" cxnId="{1E161006-DF62-4920-BE8B-28FE18FE573E}">
      <dgm:prSet/>
      <dgm:spPr/>
      <dgm:t>
        <a:bodyPr/>
        <a:lstStyle/>
        <a:p>
          <a:endParaRPr lang="en-US"/>
        </a:p>
      </dgm:t>
    </dgm:pt>
    <dgm:pt modelId="{56071E62-5FC8-4E41-8FCA-E55E58D25679}" type="sibTrans" cxnId="{1E161006-DF62-4920-BE8B-28FE18FE573E}">
      <dgm:prSet/>
      <dgm:spPr/>
      <dgm:t>
        <a:bodyPr/>
        <a:lstStyle/>
        <a:p>
          <a:endParaRPr lang="en-US"/>
        </a:p>
      </dgm:t>
    </dgm:pt>
    <dgm:pt modelId="{FDECDD10-01CE-4005-9553-378C5DB93578}" type="pres">
      <dgm:prSet presAssocID="{FF18C1AB-77B4-4127-B202-92C789767526}" presName="Name0" presStyleCnt="0">
        <dgm:presLayoutVars>
          <dgm:dir/>
          <dgm:resizeHandles val="exact"/>
        </dgm:presLayoutVars>
      </dgm:prSet>
      <dgm:spPr/>
    </dgm:pt>
    <dgm:pt modelId="{078DDA08-112A-4D72-897C-CEDB3FD6A964}" type="pres">
      <dgm:prSet presAssocID="{14EC9257-BF22-4F77-B701-0ACB78C07739}" presName="node" presStyleLbl="node1" presStyleIdx="0" presStyleCnt="3">
        <dgm:presLayoutVars>
          <dgm:bulletEnabled val="1"/>
        </dgm:presLayoutVars>
      </dgm:prSet>
      <dgm:spPr/>
    </dgm:pt>
    <dgm:pt modelId="{27AEEC61-4D92-4682-A178-59BF119928A3}" type="pres">
      <dgm:prSet presAssocID="{C0D7E1D3-B429-46FE-99E0-2D7515A26889}" presName="sibTrans" presStyleLbl="sibTrans2D1" presStyleIdx="0" presStyleCnt="2"/>
      <dgm:spPr/>
    </dgm:pt>
    <dgm:pt modelId="{1CFDB562-4263-432C-8F19-6951EDACC797}" type="pres">
      <dgm:prSet presAssocID="{C0D7E1D3-B429-46FE-99E0-2D7515A26889}" presName="connectorText" presStyleLbl="sibTrans2D1" presStyleIdx="0" presStyleCnt="2"/>
      <dgm:spPr/>
    </dgm:pt>
    <dgm:pt modelId="{5CCE898F-275B-423B-BB5B-E8E43B1E27D5}" type="pres">
      <dgm:prSet presAssocID="{2223D119-C8D7-494D-A9AD-A3B2EC001D1F}" presName="node" presStyleLbl="node1" presStyleIdx="1" presStyleCnt="3">
        <dgm:presLayoutVars>
          <dgm:bulletEnabled val="1"/>
        </dgm:presLayoutVars>
      </dgm:prSet>
      <dgm:spPr/>
    </dgm:pt>
    <dgm:pt modelId="{D8D2F4A7-F1CA-4FEE-8EF7-3FC6E795660A}" type="pres">
      <dgm:prSet presAssocID="{5D3A67E9-2B2A-47D8-9366-A339CCD93A94}" presName="sibTrans" presStyleLbl="sibTrans2D1" presStyleIdx="1" presStyleCnt="2"/>
      <dgm:spPr/>
    </dgm:pt>
    <dgm:pt modelId="{28E7738A-A978-4795-A672-4F9C075F81D9}" type="pres">
      <dgm:prSet presAssocID="{5D3A67E9-2B2A-47D8-9366-A339CCD93A94}" presName="connectorText" presStyleLbl="sibTrans2D1" presStyleIdx="1" presStyleCnt="2"/>
      <dgm:spPr/>
    </dgm:pt>
    <dgm:pt modelId="{15B49102-D4D5-430A-A117-BB4871856023}" type="pres">
      <dgm:prSet presAssocID="{42CCB658-E206-46BD-A1FB-582C28241CE5}" presName="node" presStyleLbl="node1" presStyleIdx="2" presStyleCnt="3">
        <dgm:presLayoutVars>
          <dgm:bulletEnabled val="1"/>
        </dgm:presLayoutVars>
      </dgm:prSet>
      <dgm:spPr/>
    </dgm:pt>
  </dgm:ptLst>
  <dgm:cxnLst>
    <dgm:cxn modelId="{209BB397-9019-4376-BD3A-4A01F4B050FF}" srcId="{FF18C1AB-77B4-4127-B202-92C789767526}" destId="{2223D119-C8D7-494D-A9AD-A3B2EC001D1F}" srcOrd="1" destOrd="0" parTransId="{BD841A81-F32D-461B-9803-CC13F478A47F}" sibTransId="{5D3A67E9-2B2A-47D8-9366-A339CCD93A94}"/>
    <dgm:cxn modelId="{36C12E29-1543-4DF0-A945-19144578D7A1}" type="presOf" srcId="{FF18C1AB-77B4-4127-B202-92C789767526}" destId="{FDECDD10-01CE-4005-9553-378C5DB93578}" srcOrd="0" destOrd="0" presId="urn:microsoft.com/office/officeart/2005/8/layout/process1"/>
    <dgm:cxn modelId="{1E161006-DF62-4920-BE8B-28FE18FE573E}" srcId="{FF18C1AB-77B4-4127-B202-92C789767526}" destId="{42CCB658-E206-46BD-A1FB-582C28241CE5}" srcOrd="2" destOrd="0" parTransId="{99F81FC0-E862-4E89-B165-3B5255800AFC}" sibTransId="{56071E62-5FC8-4E41-8FCA-E55E58D25679}"/>
    <dgm:cxn modelId="{46E395C6-A9B0-43FC-93DE-2381415FF89B}" type="presOf" srcId="{5D3A67E9-2B2A-47D8-9366-A339CCD93A94}" destId="{28E7738A-A978-4795-A672-4F9C075F81D9}" srcOrd="1" destOrd="0" presId="urn:microsoft.com/office/officeart/2005/8/layout/process1"/>
    <dgm:cxn modelId="{5F943FCA-B527-4B38-A424-E9C61F96C127}" srcId="{FF18C1AB-77B4-4127-B202-92C789767526}" destId="{14EC9257-BF22-4F77-B701-0ACB78C07739}" srcOrd="0" destOrd="0" parTransId="{367F0181-06E1-4690-85D3-FE05F8E1F01C}" sibTransId="{C0D7E1D3-B429-46FE-99E0-2D7515A26889}"/>
    <dgm:cxn modelId="{3A275772-1D2A-450B-844A-563352098708}" type="presOf" srcId="{2223D119-C8D7-494D-A9AD-A3B2EC001D1F}" destId="{5CCE898F-275B-423B-BB5B-E8E43B1E27D5}" srcOrd="0" destOrd="0" presId="urn:microsoft.com/office/officeart/2005/8/layout/process1"/>
    <dgm:cxn modelId="{CE221A13-108E-4A36-B7B1-C5BB700AA94A}" type="presOf" srcId="{C0D7E1D3-B429-46FE-99E0-2D7515A26889}" destId="{27AEEC61-4D92-4682-A178-59BF119928A3}" srcOrd="0" destOrd="0" presId="urn:microsoft.com/office/officeart/2005/8/layout/process1"/>
    <dgm:cxn modelId="{47072989-F8B2-4AC0-B8E0-770ED429A3CF}" type="presOf" srcId="{42CCB658-E206-46BD-A1FB-582C28241CE5}" destId="{15B49102-D4D5-430A-A117-BB4871856023}" srcOrd="0" destOrd="0" presId="urn:microsoft.com/office/officeart/2005/8/layout/process1"/>
    <dgm:cxn modelId="{F7AF3480-C936-4326-8AEC-B5593CB18F1B}" type="presOf" srcId="{C0D7E1D3-B429-46FE-99E0-2D7515A26889}" destId="{1CFDB562-4263-432C-8F19-6951EDACC797}" srcOrd="1" destOrd="0" presId="urn:microsoft.com/office/officeart/2005/8/layout/process1"/>
    <dgm:cxn modelId="{D3D64790-C800-4B44-80DB-C544B7F5DAC5}" type="presOf" srcId="{14EC9257-BF22-4F77-B701-0ACB78C07739}" destId="{078DDA08-112A-4D72-897C-CEDB3FD6A964}" srcOrd="0" destOrd="0" presId="urn:microsoft.com/office/officeart/2005/8/layout/process1"/>
    <dgm:cxn modelId="{885D23AB-CA19-4778-B3D0-03CB5584ED4E}" type="presOf" srcId="{5D3A67E9-2B2A-47D8-9366-A339CCD93A94}" destId="{D8D2F4A7-F1CA-4FEE-8EF7-3FC6E795660A}" srcOrd="0" destOrd="0" presId="urn:microsoft.com/office/officeart/2005/8/layout/process1"/>
    <dgm:cxn modelId="{DE723FED-2BC5-4CF1-89F5-823ECA86CBDF}" type="presParOf" srcId="{FDECDD10-01CE-4005-9553-378C5DB93578}" destId="{078DDA08-112A-4D72-897C-CEDB3FD6A964}" srcOrd="0" destOrd="0" presId="urn:microsoft.com/office/officeart/2005/8/layout/process1"/>
    <dgm:cxn modelId="{B9E9E435-7A2C-4D92-9C0F-9107AE91ECF9}" type="presParOf" srcId="{FDECDD10-01CE-4005-9553-378C5DB93578}" destId="{27AEEC61-4D92-4682-A178-59BF119928A3}" srcOrd="1" destOrd="0" presId="urn:microsoft.com/office/officeart/2005/8/layout/process1"/>
    <dgm:cxn modelId="{37D0B690-C407-4C9F-92F4-796DE27E9FF8}" type="presParOf" srcId="{27AEEC61-4D92-4682-A178-59BF119928A3}" destId="{1CFDB562-4263-432C-8F19-6951EDACC797}" srcOrd="0" destOrd="0" presId="urn:microsoft.com/office/officeart/2005/8/layout/process1"/>
    <dgm:cxn modelId="{2F64B310-99F1-4CF1-A0ED-C93CB57CE5D8}" type="presParOf" srcId="{FDECDD10-01CE-4005-9553-378C5DB93578}" destId="{5CCE898F-275B-423B-BB5B-E8E43B1E27D5}" srcOrd="2" destOrd="0" presId="urn:microsoft.com/office/officeart/2005/8/layout/process1"/>
    <dgm:cxn modelId="{6BB08507-FC1C-4994-9FDA-01C2EE824D6E}" type="presParOf" srcId="{FDECDD10-01CE-4005-9553-378C5DB93578}" destId="{D8D2F4A7-F1CA-4FEE-8EF7-3FC6E795660A}" srcOrd="3" destOrd="0" presId="urn:microsoft.com/office/officeart/2005/8/layout/process1"/>
    <dgm:cxn modelId="{61815B38-11B4-4982-9C9E-53D4524EFEFE}" type="presParOf" srcId="{D8D2F4A7-F1CA-4FEE-8EF7-3FC6E795660A}" destId="{28E7738A-A978-4795-A672-4F9C075F81D9}" srcOrd="0" destOrd="0" presId="urn:microsoft.com/office/officeart/2005/8/layout/process1"/>
    <dgm:cxn modelId="{5B135447-BF3B-42C6-9AEA-076B15D0B775}" type="presParOf" srcId="{FDECDD10-01CE-4005-9553-378C5DB93578}" destId="{15B49102-D4D5-430A-A117-BB4871856023}"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DDA08-112A-4D72-897C-CEDB3FD6A964}">
      <dsp:nvSpPr>
        <dsp:cNvPr id="0" name=""/>
        <dsp:cNvSpPr/>
      </dsp:nvSpPr>
      <dsp:spPr>
        <a:xfrm>
          <a:off x="7233" y="436483"/>
          <a:ext cx="2161877" cy="202676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April 1, 2015</a:t>
          </a:r>
        </a:p>
        <a:p>
          <a:pPr marL="0" lvl="0" indent="0" algn="ctr" defTabSz="800100">
            <a:lnSpc>
              <a:spcPct val="90000"/>
            </a:lnSpc>
            <a:spcBef>
              <a:spcPct val="0"/>
            </a:spcBef>
            <a:spcAft>
              <a:spcPct val="35000"/>
            </a:spcAft>
            <a:buNone/>
          </a:pPr>
          <a:r>
            <a:rPr lang="en-US" sz="1800" kern="1200" dirty="0"/>
            <a:t>Executive Order to reduce urban water use by 25%</a:t>
          </a:r>
        </a:p>
      </dsp:txBody>
      <dsp:txXfrm>
        <a:off x="66595" y="495845"/>
        <a:ext cx="2043153" cy="1908036"/>
      </dsp:txXfrm>
    </dsp:sp>
    <dsp:sp modelId="{27AEEC61-4D92-4682-A178-59BF119928A3}">
      <dsp:nvSpPr>
        <dsp:cNvPr id="0" name=""/>
        <dsp:cNvSpPr/>
      </dsp:nvSpPr>
      <dsp:spPr>
        <a:xfrm>
          <a:off x="2385298" y="1181791"/>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385298" y="1289020"/>
        <a:ext cx="320822" cy="321687"/>
      </dsp:txXfrm>
    </dsp:sp>
    <dsp:sp modelId="{5CCE898F-275B-423B-BB5B-E8E43B1E27D5}">
      <dsp:nvSpPr>
        <dsp:cNvPr id="0" name=""/>
        <dsp:cNvSpPr/>
      </dsp:nvSpPr>
      <dsp:spPr>
        <a:xfrm>
          <a:off x="3033861" y="436483"/>
          <a:ext cx="2161877" cy="202676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May 2015</a:t>
          </a:r>
        </a:p>
        <a:p>
          <a:pPr marL="0" lvl="0" indent="0" algn="ctr" defTabSz="800100">
            <a:lnSpc>
              <a:spcPct val="90000"/>
            </a:lnSpc>
            <a:spcBef>
              <a:spcPct val="0"/>
            </a:spcBef>
            <a:spcAft>
              <a:spcPct val="35000"/>
            </a:spcAft>
            <a:buNone/>
          </a:pPr>
          <a:r>
            <a:rPr lang="en-US" sz="1800" kern="1200" dirty="0"/>
            <a:t>State Water Board emergency regulation to reduce all potable urban water supply by 25%</a:t>
          </a:r>
        </a:p>
      </dsp:txBody>
      <dsp:txXfrm>
        <a:off x="3093223" y="495845"/>
        <a:ext cx="2043153" cy="1908036"/>
      </dsp:txXfrm>
    </dsp:sp>
    <dsp:sp modelId="{D8D2F4A7-F1CA-4FEE-8EF7-3FC6E795660A}">
      <dsp:nvSpPr>
        <dsp:cNvPr id="0" name=""/>
        <dsp:cNvSpPr/>
      </dsp:nvSpPr>
      <dsp:spPr>
        <a:xfrm>
          <a:off x="5411926" y="1181791"/>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411926" y="1289020"/>
        <a:ext cx="320822" cy="321687"/>
      </dsp:txXfrm>
    </dsp:sp>
    <dsp:sp modelId="{15B49102-D4D5-430A-A117-BB4871856023}">
      <dsp:nvSpPr>
        <dsp:cNvPr id="0" name=""/>
        <dsp:cNvSpPr/>
      </dsp:nvSpPr>
      <dsp:spPr>
        <a:xfrm>
          <a:off x="6060489" y="436483"/>
          <a:ext cx="2161877" cy="202676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June 2015</a:t>
          </a:r>
        </a:p>
        <a:p>
          <a:pPr marL="0" lvl="0" indent="0" algn="ctr" defTabSz="800100">
            <a:lnSpc>
              <a:spcPct val="90000"/>
            </a:lnSpc>
            <a:spcBef>
              <a:spcPct val="0"/>
            </a:spcBef>
            <a:spcAft>
              <a:spcPct val="35000"/>
            </a:spcAft>
            <a:buNone/>
          </a:pPr>
          <a:r>
            <a:rPr lang="en-US" sz="1800" kern="1200" dirty="0"/>
            <a:t>Application of regulation begins (through Feb 2016)</a:t>
          </a:r>
        </a:p>
      </dsp:txBody>
      <dsp:txXfrm>
        <a:off x="6119851" y="495845"/>
        <a:ext cx="2043153" cy="190803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0654" tIns="45327" rIns="90654" bIns="45327" rtlCol="0"/>
          <a:lstStyle>
            <a:lvl1pPr algn="l" eaLnBrk="1" hangingPunct="1">
              <a:defRPr sz="1200">
                <a:ea typeface="+mn-ea"/>
                <a:cs typeface="Times New Roman" pitchFamily="18"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0654" tIns="45327" rIns="90654" bIns="45327" numCol="1" anchor="t" anchorCtr="0" compatLnSpc="1">
            <a:prstTxWarp prst="textNoShape">
              <a:avLst/>
            </a:prstTxWarp>
          </a:bodyPr>
          <a:lstStyle>
            <a:lvl1pPr algn="r" eaLnBrk="1" hangingPunct="1">
              <a:defRPr sz="1200"/>
            </a:lvl1pPr>
          </a:lstStyle>
          <a:p>
            <a:pPr>
              <a:defRPr/>
            </a:pPr>
            <a:fld id="{0CBD6DDC-E945-4A63-B2C2-B7EC4D2207B8}" type="datetimeFigureOut">
              <a:rPr lang="en-US" altLang="en-US"/>
              <a:pPr>
                <a:defRPr/>
              </a:pPr>
              <a:t>7/10/2017</a:t>
            </a:fld>
            <a:endParaRPr lang="en-US" alt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0654" tIns="45327" rIns="90654" bIns="45327" rtlCol="0" anchor="b"/>
          <a:lstStyle>
            <a:lvl1pPr algn="l" eaLnBrk="1" hangingPunct="1">
              <a:defRPr sz="1200">
                <a:ea typeface="+mn-ea"/>
                <a:cs typeface="Times New Roman" pitchFamily="18"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0654" tIns="45327" rIns="90654" bIns="45327" numCol="1" anchor="b" anchorCtr="0" compatLnSpc="1">
            <a:prstTxWarp prst="textNoShape">
              <a:avLst/>
            </a:prstTxWarp>
          </a:bodyPr>
          <a:lstStyle>
            <a:lvl1pPr algn="r" eaLnBrk="1" hangingPunct="1">
              <a:defRPr sz="1200"/>
            </a:lvl1pPr>
          </a:lstStyle>
          <a:p>
            <a:pPr>
              <a:defRPr/>
            </a:pPr>
            <a:fld id="{A2063C6F-69F0-4AA2-9B5B-930BB31A5FD2}" type="slidenum">
              <a:rPr lang="en-US" altLang="en-US"/>
              <a:pPr>
                <a:defRPr/>
              </a:pPr>
              <a:t>‹#›</a:t>
            </a:fld>
            <a:endParaRPr lang="en-US" altLang="en-US"/>
          </a:p>
        </p:txBody>
      </p:sp>
    </p:spTree>
    <p:extLst>
      <p:ext uri="{BB962C8B-B14F-4D97-AF65-F5344CB8AC3E}">
        <p14:creationId xmlns:p14="http://schemas.microsoft.com/office/powerpoint/2010/main" val="15142341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0654" tIns="45327" rIns="90654" bIns="45327" rtlCol="0"/>
          <a:lstStyle>
            <a:lvl1pPr algn="l" eaLnBrk="1" hangingPunct="1">
              <a:defRPr sz="1200">
                <a:ea typeface="+mn-ea"/>
                <a:cs typeface="Times New Roman" pitchFamily="18" charset="0"/>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0654" tIns="45327" rIns="90654" bIns="45327" numCol="1" anchor="t" anchorCtr="0" compatLnSpc="1">
            <a:prstTxWarp prst="textNoShape">
              <a:avLst/>
            </a:prstTxWarp>
          </a:bodyPr>
          <a:lstStyle>
            <a:lvl1pPr algn="r" eaLnBrk="1" hangingPunct="1">
              <a:defRPr sz="1200"/>
            </a:lvl1pPr>
          </a:lstStyle>
          <a:p>
            <a:pPr>
              <a:defRPr/>
            </a:pPr>
            <a:fld id="{73E6FDE8-7355-4008-8DC4-5E5959C70704}" type="datetimeFigureOut">
              <a:rPr lang="en-US" altLang="en-US"/>
              <a:pPr>
                <a:defRPr/>
              </a:pPr>
              <a:t>7/10/2017</a:t>
            </a:fld>
            <a:endParaRPr lang="en-US" alt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0654" tIns="45327" rIns="90654" bIns="45327"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0654" tIns="45327" rIns="90654" bIns="45327"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0654" tIns="45327" rIns="90654" bIns="45327" rtlCol="0" anchor="b"/>
          <a:lstStyle>
            <a:lvl1pPr algn="l" eaLnBrk="1" hangingPunct="1">
              <a:defRPr sz="1200">
                <a:ea typeface="+mn-ea"/>
                <a:cs typeface="Times New Roman" pitchFamily="18"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0654" tIns="45327" rIns="90654" bIns="45327" numCol="1" anchor="b" anchorCtr="0" compatLnSpc="1">
            <a:prstTxWarp prst="textNoShape">
              <a:avLst/>
            </a:prstTxWarp>
          </a:bodyPr>
          <a:lstStyle>
            <a:lvl1pPr algn="r" eaLnBrk="1" hangingPunct="1">
              <a:defRPr sz="1200"/>
            </a:lvl1pPr>
          </a:lstStyle>
          <a:p>
            <a:pPr>
              <a:defRPr/>
            </a:pPr>
            <a:fld id="{20DA52B9-F683-4A77-9C01-9BC5190784EF}" type="slidenum">
              <a:rPr lang="en-US" altLang="en-US"/>
              <a:pPr>
                <a:defRPr/>
              </a:pPr>
              <a:t>‹#›</a:t>
            </a:fld>
            <a:endParaRPr lang="en-US" altLang="en-US"/>
          </a:p>
        </p:txBody>
      </p:sp>
    </p:spTree>
    <p:extLst>
      <p:ext uri="{BB962C8B-B14F-4D97-AF65-F5344CB8AC3E}">
        <p14:creationId xmlns:p14="http://schemas.microsoft.com/office/powerpoint/2010/main" val="2818310534"/>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b="1">
                <a:solidFill>
                  <a:schemeClr val="tx1"/>
                </a:solidFill>
                <a:latin typeface="Trebuchet MS" panose="020B0603020202020204" pitchFamily="34" charset="0"/>
                <a:ea typeface="MS PGothic" panose="020B0600070205080204" pitchFamily="34" charset="-128"/>
              </a:defRPr>
            </a:lvl1pPr>
            <a:lvl2pPr marL="742950" indent="-285750">
              <a:defRPr sz="1600" b="1">
                <a:solidFill>
                  <a:schemeClr val="tx1"/>
                </a:solidFill>
                <a:latin typeface="Trebuchet MS" panose="020B0603020202020204" pitchFamily="34" charset="0"/>
                <a:ea typeface="MS PGothic" panose="020B0600070205080204" pitchFamily="34" charset="-128"/>
              </a:defRPr>
            </a:lvl2pPr>
            <a:lvl3pPr marL="1143000" indent="-228600">
              <a:defRPr sz="1600" b="1">
                <a:solidFill>
                  <a:schemeClr val="tx1"/>
                </a:solidFill>
                <a:latin typeface="Trebuchet MS" panose="020B0603020202020204" pitchFamily="34" charset="0"/>
                <a:ea typeface="MS PGothic" panose="020B0600070205080204" pitchFamily="34" charset="-128"/>
              </a:defRPr>
            </a:lvl3pPr>
            <a:lvl4pPr marL="1600200" indent="-228600">
              <a:defRPr sz="1600" b="1">
                <a:solidFill>
                  <a:schemeClr val="tx1"/>
                </a:solidFill>
                <a:latin typeface="Trebuchet MS" panose="020B0603020202020204" pitchFamily="34" charset="0"/>
                <a:ea typeface="MS PGothic" panose="020B0600070205080204" pitchFamily="34" charset="-128"/>
              </a:defRPr>
            </a:lvl4pPr>
            <a:lvl5pPr marL="2057400" indent="-22860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fld id="{C9DBC17D-7B7C-4537-B30C-2BC04EF21A20}" type="slidenum">
              <a:rPr lang="en-US" altLang="en-US" sz="1200" smtClean="0"/>
              <a:pPr/>
              <a:t>0</a:t>
            </a:fld>
            <a:endParaRPr lang="en-US" altLang="en-US" sz="1200"/>
          </a:p>
        </p:txBody>
      </p:sp>
    </p:spTree>
    <p:extLst>
      <p:ext uri="{BB962C8B-B14F-4D97-AF65-F5344CB8AC3E}">
        <p14:creationId xmlns:p14="http://schemas.microsoft.com/office/powerpoint/2010/main" val="212977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S PGothic" pitchFamily="34" charset="-128"/>
                <a:cs typeface="+mn-cs"/>
              </a:rPr>
              <a:t>The water budgets have been adjusted downward over time, to reflect rising water use efficiency among Irvine’s customers and partially in response to drought conditions, first in 2009 and then again in 2014. The downward adjustment made to water budgets in 2009 was not rescinded once drought conditions ended. </a:t>
            </a:r>
          </a:p>
          <a:p>
            <a:endParaRPr lang="en-US" sz="1200" kern="1200" dirty="0">
              <a:solidFill>
                <a:schemeClr val="tx1"/>
              </a:solidFill>
              <a:effectLst/>
              <a:latin typeface="+mn-lt"/>
              <a:ea typeface="MS PGothic" pitchFamily="34" charset="-128"/>
              <a:cs typeface="+mn-cs"/>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Proposition 218 in CA mandates that water rates not exceed cost-of-service</a:t>
            </a:r>
          </a:p>
          <a:p>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13</a:t>
            </a:fld>
            <a:endParaRPr lang="en-US" altLang="en-US"/>
          </a:p>
        </p:txBody>
      </p:sp>
    </p:spTree>
    <p:extLst>
      <p:ext uri="{BB962C8B-B14F-4D97-AF65-F5344CB8AC3E}">
        <p14:creationId xmlns:p14="http://schemas.microsoft.com/office/powerpoint/2010/main" val="42052911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S PGothic" pitchFamily="34" charset="-128"/>
                <a:cs typeface="+mn-cs"/>
              </a:rPr>
              <a:t>Moreover, this structure has increased IRWD drought-proofing: they got through the dry periods of 2009 and 2014 without having to declare a shortage or undertake overt mandatory restrictions </a:t>
            </a:r>
          </a:p>
          <a:p>
            <a:r>
              <a:rPr lang="en-US" sz="1200" b="1" kern="1200" dirty="0">
                <a:solidFill>
                  <a:schemeClr val="tx1"/>
                </a:solidFill>
                <a:effectLst/>
                <a:latin typeface="+mn-lt"/>
                <a:ea typeface="MS PGothic" pitchFamily="34" charset="-128"/>
                <a:cs typeface="+mn-cs"/>
              </a:rPr>
              <a:t>It’s important to note that</a:t>
            </a:r>
            <a:r>
              <a:rPr lang="en-US" sz="1200" b="1" kern="1200" baseline="0" dirty="0">
                <a:solidFill>
                  <a:schemeClr val="tx1"/>
                </a:solidFill>
                <a:effectLst/>
                <a:latin typeface="+mn-lt"/>
                <a:ea typeface="MS PGothic" pitchFamily="34" charset="-128"/>
                <a:cs typeface="+mn-cs"/>
              </a:rPr>
              <a:t> IWRD did not meet the mandatory conservation target set by the State: they reached 15.53% conservation against a goal of 16%! However, all the savings were realized through an increase in their water rate.</a:t>
            </a:r>
            <a:endParaRPr lang="en-US" sz="1200" b="1" kern="1200" dirty="0">
              <a:solidFill>
                <a:schemeClr val="tx1"/>
              </a:solidFill>
              <a:effectLst/>
              <a:latin typeface="+mn-lt"/>
              <a:ea typeface="MS PGothic" pitchFamily="34" charset="-128"/>
              <a:cs typeface="+mn-cs"/>
            </a:endParaRPr>
          </a:p>
          <a:p>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16</a:t>
            </a:fld>
            <a:endParaRPr lang="en-US" altLang="en-US"/>
          </a:p>
        </p:txBody>
      </p:sp>
    </p:spTree>
    <p:extLst>
      <p:ext uri="{BB962C8B-B14F-4D97-AF65-F5344CB8AC3E}">
        <p14:creationId xmlns:p14="http://schemas.microsoft.com/office/powerpoint/2010/main" val="225968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9 water banking operations</a:t>
            </a:r>
          </a:p>
          <a:p>
            <a:endParaRPr lang="en-US" sz="1200" dirty="0"/>
          </a:p>
          <a:p>
            <a:r>
              <a:rPr lang="en-US" sz="1200" dirty="0"/>
              <a:t>Due to its location near the California Aqueduct, the Kern River and the federal Friant-Kern Canal, Kern County is ideally suited for groundwater banking.  </a:t>
            </a:r>
          </a:p>
          <a:p>
            <a:endParaRPr lang="en-US" sz="1200" dirty="0"/>
          </a:p>
          <a:p>
            <a:r>
              <a:rPr lang="en-US" sz="1200" dirty="0"/>
              <a:t>The area has various underground water storage and recovery facilities, including two of the largest in the world — the </a:t>
            </a:r>
            <a:r>
              <a:rPr lang="en-US" sz="1200" dirty="0" err="1"/>
              <a:t>Semitropic</a:t>
            </a:r>
            <a:r>
              <a:rPr lang="en-US" sz="1200" dirty="0"/>
              <a:t> Water Storage Bank and the Kern Water Bank. </a:t>
            </a:r>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18</a:t>
            </a:fld>
            <a:endParaRPr lang="en-US" altLang="en-US"/>
          </a:p>
        </p:txBody>
      </p:sp>
    </p:spTree>
    <p:extLst>
      <p:ext uri="{BB962C8B-B14F-4D97-AF65-F5344CB8AC3E}">
        <p14:creationId xmlns:p14="http://schemas.microsoft.com/office/powerpoint/2010/main" val="1703081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Currently, there are six banking partners who have delivered approximately 700,000 acre-feet of water to </a:t>
            </a:r>
            <a:r>
              <a:rPr lang="en-US" dirty="0" err="1"/>
              <a:t>Semitropic</a:t>
            </a:r>
            <a:r>
              <a:rPr lang="en-US" dirty="0"/>
              <a:t>, which is enough to supply about 1.4 million households with water for a year.</a:t>
            </a:r>
          </a:p>
          <a:p>
            <a:endParaRPr lang="en-US" dirty="0"/>
          </a:p>
          <a:p>
            <a:r>
              <a:rPr lang="en-US" sz="1200" i="1" kern="1200" dirty="0">
                <a:solidFill>
                  <a:schemeClr val="tx1"/>
                </a:solidFill>
                <a:effectLst/>
                <a:latin typeface="+mn-lt"/>
                <a:ea typeface="MS PGothic" pitchFamily="34" charset="-128"/>
                <a:cs typeface="+mn-cs"/>
              </a:rPr>
              <a:t>in-lieu </a:t>
            </a:r>
            <a:r>
              <a:rPr lang="en-US" sz="1200" kern="1200" dirty="0">
                <a:solidFill>
                  <a:schemeClr val="tx1"/>
                </a:solidFill>
                <a:effectLst/>
                <a:latin typeface="+mn-lt"/>
                <a:ea typeface="MS PGothic" pitchFamily="34" charset="-128"/>
                <a:cs typeface="+mn-cs"/>
              </a:rPr>
              <a:t>recharge wherein surface supplies are provided to groundwater users </a:t>
            </a:r>
            <a:r>
              <a:rPr lang="en-US" sz="1200" i="1" kern="1200" dirty="0">
                <a:solidFill>
                  <a:schemeClr val="tx1"/>
                </a:solidFill>
                <a:effectLst/>
                <a:latin typeface="+mn-lt"/>
                <a:ea typeface="MS PGothic" pitchFamily="34" charset="-128"/>
                <a:cs typeface="+mn-cs"/>
              </a:rPr>
              <a:t>in lieu</a:t>
            </a:r>
            <a:r>
              <a:rPr lang="en-US" sz="1200" kern="1200" dirty="0">
                <a:solidFill>
                  <a:schemeClr val="tx1"/>
                </a:solidFill>
                <a:effectLst/>
                <a:latin typeface="+mn-lt"/>
                <a:ea typeface="MS PGothic" pitchFamily="34" charset="-128"/>
                <a:cs typeface="+mn-cs"/>
              </a:rPr>
              <a:t> of pumping groundwater and that amount of groundwater that otherwise would have been pumped becomes banked water </a:t>
            </a:r>
          </a:p>
          <a:p>
            <a:endParaRPr lang="en-US" sz="1200" kern="1200" dirty="0">
              <a:solidFill>
                <a:schemeClr val="tx1"/>
              </a:solidFill>
              <a:effectLst/>
              <a:latin typeface="+mn-lt"/>
              <a:ea typeface="MS PGothic" pitchFamily="34" charset="-128"/>
              <a:cs typeface="+mn-cs"/>
            </a:endParaRPr>
          </a:p>
          <a:p>
            <a:r>
              <a:rPr lang="en-US" dirty="0"/>
              <a:t>Through </a:t>
            </a:r>
            <a:r>
              <a:rPr lang="en-US" dirty="0" err="1"/>
              <a:t>pumpback</a:t>
            </a:r>
            <a:r>
              <a:rPr lang="en-US" dirty="0"/>
              <a:t>, </a:t>
            </a:r>
            <a:r>
              <a:rPr lang="en-US" dirty="0" err="1"/>
              <a:t>Semitropic</a:t>
            </a:r>
            <a:r>
              <a:rPr lang="en-US" dirty="0"/>
              <a:t> can deliver a maximum of 90,000 acre-feet of water per year into the California Aqueduct. </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latin typeface="+mn-lt"/>
                <a:ea typeface="MS PGothic" pitchFamily="34" charset="-128"/>
                <a:cs typeface="+mn-cs"/>
              </a:rPr>
              <a:t>Changes in the agricultural economy over the last 15 years, including the rising popularity of pomegranates and pistachios, prompted many farmers to switch to permanent crops, taking away the option of letting fields lie fallow in dry years. So water banking expanded.</a:t>
            </a:r>
          </a:p>
          <a:p>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19</a:t>
            </a:fld>
            <a:endParaRPr lang="en-US" altLang="en-US"/>
          </a:p>
        </p:txBody>
      </p:sp>
    </p:spTree>
    <p:extLst>
      <p:ext uri="{BB962C8B-B14F-4D97-AF65-F5344CB8AC3E}">
        <p14:creationId xmlns:p14="http://schemas.microsoft.com/office/powerpoint/2010/main" val="32755701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S PGothic" pitchFamily="34" charset="-128"/>
                <a:cs typeface="+mn-cs"/>
              </a:rPr>
              <a:t>In 2010 the cost to recharge water was $13/acre-</a:t>
            </a:r>
            <a:r>
              <a:rPr lang="en-US" sz="1200" kern="1200" dirty="0" err="1">
                <a:solidFill>
                  <a:schemeClr val="tx1"/>
                </a:solidFill>
                <a:effectLst/>
                <a:latin typeface="+mn-lt"/>
                <a:ea typeface="MS PGothic" pitchFamily="34" charset="-128"/>
                <a:cs typeface="+mn-cs"/>
              </a:rPr>
              <a:t>ft</a:t>
            </a:r>
            <a:r>
              <a:rPr lang="en-US" sz="1200" kern="1200" dirty="0">
                <a:solidFill>
                  <a:schemeClr val="tx1"/>
                </a:solidFill>
                <a:effectLst/>
                <a:latin typeface="+mn-lt"/>
                <a:ea typeface="MS PGothic" pitchFamily="34" charset="-128"/>
                <a:cs typeface="+mn-cs"/>
              </a:rPr>
              <a:t> and the cost to recover water was about $70/acre-ft. </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S PGothic" pitchFamily="34" charset="-128"/>
                <a:cs typeface="+mn-cs"/>
              </a:rPr>
              <a:t>The price to third-party water users outside of Kern County can be quite high depending on the hydrologic cycle.</a:t>
            </a:r>
          </a:p>
          <a:p>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20</a:t>
            </a:fld>
            <a:endParaRPr lang="en-US" altLang="en-US"/>
          </a:p>
        </p:txBody>
      </p:sp>
    </p:spTree>
    <p:extLst>
      <p:ext uri="{BB962C8B-B14F-4D97-AF65-F5344CB8AC3E}">
        <p14:creationId xmlns:p14="http://schemas.microsoft.com/office/powerpoint/2010/main" val="22841562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cess water deliveries to farmers</a:t>
            </a:r>
          </a:p>
          <a:p>
            <a:r>
              <a:rPr lang="en-US" dirty="0"/>
              <a:t>Overfilling canals which led to spills</a:t>
            </a:r>
          </a:p>
          <a:p>
            <a:r>
              <a:rPr lang="en-US" dirty="0"/>
              <a:t>Poor regulation of flows within the system</a:t>
            </a:r>
          </a:p>
          <a:p>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24</a:t>
            </a:fld>
            <a:endParaRPr lang="en-US" altLang="en-US"/>
          </a:p>
        </p:txBody>
      </p:sp>
    </p:spTree>
    <p:extLst>
      <p:ext uri="{BB962C8B-B14F-4D97-AF65-F5344CB8AC3E}">
        <p14:creationId xmlns:p14="http://schemas.microsoft.com/office/powerpoint/2010/main" val="980519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till concerns as</a:t>
            </a:r>
            <a:r>
              <a:rPr lang="en-US" baseline="0" dirty="0"/>
              <a:t> to whether IID can conserve enough water to meet agreement terms.</a:t>
            </a:r>
          </a:p>
          <a:p>
            <a:r>
              <a:rPr lang="en-US" dirty="0"/>
              <a:t>This marked</a:t>
            </a:r>
            <a:r>
              <a:rPr lang="en-US" baseline="0" dirty="0"/>
              <a:t> an important moment for California in prioritizing urban uses over agricultural interests through one of the largest ag to urban transfers in the US.</a:t>
            </a:r>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25</a:t>
            </a:fld>
            <a:endParaRPr lang="en-US" altLang="en-US"/>
          </a:p>
        </p:txBody>
      </p:sp>
    </p:spTree>
    <p:extLst>
      <p:ext uri="{BB962C8B-B14F-4D97-AF65-F5344CB8AC3E}">
        <p14:creationId xmlns:p14="http://schemas.microsoft.com/office/powerpoint/2010/main" val="3821160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a:t>
            </a:r>
            <a:r>
              <a:rPr lang="en-US" baseline="0" dirty="0"/>
              <a:t> http://users.humboldt.edu/ogayle/hist383/Water.html</a:t>
            </a:r>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1</a:t>
            </a:fld>
            <a:endParaRPr lang="en-US" altLang="en-US"/>
          </a:p>
        </p:txBody>
      </p:sp>
    </p:spTree>
    <p:extLst>
      <p:ext uri="{BB962C8B-B14F-4D97-AF65-F5344CB8AC3E}">
        <p14:creationId xmlns:p14="http://schemas.microsoft.com/office/powerpoint/2010/main" val="972166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MWD</a:t>
            </a:r>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2</a:t>
            </a:fld>
            <a:endParaRPr lang="en-US" altLang="en-US"/>
          </a:p>
        </p:txBody>
      </p:sp>
    </p:spTree>
    <p:extLst>
      <p:ext uri="{BB962C8B-B14F-4D97-AF65-F5344CB8AC3E}">
        <p14:creationId xmlns:p14="http://schemas.microsoft.com/office/powerpoint/2010/main" val="10552030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1% of the</a:t>
            </a:r>
            <a:r>
              <a:rPr lang="en-US" baseline="0" dirty="0"/>
              <a:t> state faced “exceptional drought”</a:t>
            </a:r>
          </a:p>
          <a:p>
            <a:r>
              <a:rPr lang="en-US" baseline="0" dirty="0"/>
              <a:t>Compounded by drought on the Colorado River since 2000</a:t>
            </a:r>
          </a:p>
          <a:p>
            <a:r>
              <a:rPr lang="en-US" baseline="0" dirty="0"/>
              <a:t>Multi-year drought</a:t>
            </a:r>
          </a:p>
          <a:p>
            <a:r>
              <a:rPr lang="en-US" baseline="0" dirty="0"/>
              <a:t>Note that this is not the first such drought California faces but it has been the worst. Early 1990s and 2009</a:t>
            </a:r>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3</a:t>
            </a:fld>
            <a:endParaRPr lang="en-US" altLang="en-US"/>
          </a:p>
        </p:txBody>
      </p:sp>
    </p:spTree>
    <p:extLst>
      <p:ext uri="{BB962C8B-B14F-4D97-AF65-F5344CB8AC3E}">
        <p14:creationId xmlns:p14="http://schemas.microsoft.com/office/powerpoint/2010/main" val="2962348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s</a:t>
            </a:r>
            <a:r>
              <a:rPr lang="en-US" baseline="0" dirty="0"/>
              <a:t> are not met by each water district</a:t>
            </a:r>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7</a:t>
            </a:fld>
            <a:endParaRPr lang="en-US" altLang="en-US"/>
          </a:p>
        </p:txBody>
      </p:sp>
    </p:spTree>
    <p:extLst>
      <p:ext uri="{BB962C8B-B14F-4D97-AF65-F5344CB8AC3E}">
        <p14:creationId xmlns:p14="http://schemas.microsoft.com/office/powerpoint/2010/main" val="2314952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8</a:t>
            </a:fld>
            <a:endParaRPr lang="en-US" altLang="en-US"/>
          </a:p>
        </p:txBody>
      </p:sp>
    </p:spTree>
    <p:extLst>
      <p:ext uri="{BB962C8B-B14F-4D97-AF65-F5344CB8AC3E}">
        <p14:creationId xmlns:p14="http://schemas.microsoft.com/office/powerpoint/2010/main" val="1412694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unded in 1961</a:t>
            </a:r>
          </a:p>
          <a:p>
            <a:r>
              <a:rPr lang="en-US" dirty="0"/>
              <a:t>Serves a population</a:t>
            </a:r>
            <a:r>
              <a:rPr lang="en-US" baseline="0" dirty="0"/>
              <a:t> of over 380,000 people</a:t>
            </a:r>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9</a:t>
            </a:fld>
            <a:endParaRPr lang="en-US" altLang="en-US"/>
          </a:p>
        </p:txBody>
      </p:sp>
    </p:spTree>
    <p:extLst>
      <p:ext uri="{BB962C8B-B14F-4D97-AF65-F5344CB8AC3E}">
        <p14:creationId xmlns:p14="http://schemas.microsoft.com/office/powerpoint/2010/main" val="239310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S PGothic" pitchFamily="34" charset="-128"/>
                <a:cs typeface="+mn-cs"/>
              </a:rPr>
              <a:t>Fixed charges are the base charges to cover fixed costs such as infrastructures maintenance and fixed operation costs whereas commodity service charges are the price per volume of water used and cover all variable costs. </a:t>
            </a:r>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11</a:t>
            </a:fld>
            <a:endParaRPr lang="en-US" altLang="en-US"/>
          </a:p>
        </p:txBody>
      </p:sp>
    </p:spTree>
    <p:extLst>
      <p:ext uri="{BB962C8B-B14F-4D97-AF65-F5344CB8AC3E}">
        <p14:creationId xmlns:p14="http://schemas.microsoft.com/office/powerpoint/2010/main" val="8027774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S PGothic" pitchFamily="34" charset="-128"/>
                <a:cs typeface="+mn-cs"/>
              </a:rPr>
              <a:t>Water is sold to customers under a four-tiered structure adapted to their monthly water budget. Customers using an amount of water within their budget purchase water in the lower two tiers and are rewarded with very low water bills. Customers using in excess of their budget purchase water in one to two steeply ascending upper tiers, resulting in relatively high water bills and a strong pricing signal for excessive use.</a:t>
            </a:r>
            <a:endParaRPr lang="en-US" dirty="0"/>
          </a:p>
        </p:txBody>
      </p:sp>
      <p:sp>
        <p:nvSpPr>
          <p:cNvPr id="4" name="Slide Number Placeholder 3"/>
          <p:cNvSpPr>
            <a:spLocks noGrp="1"/>
          </p:cNvSpPr>
          <p:nvPr>
            <p:ph type="sldNum" sz="quarter" idx="10"/>
          </p:nvPr>
        </p:nvSpPr>
        <p:spPr/>
        <p:txBody>
          <a:bodyPr/>
          <a:lstStyle/>
          <a:p>
            <a:pPr>
              <a:defRPr/>
            </a:pPr>
            <a:fld id="{20DA52B9-F683-4A77-9C01-9BC5190784EF}" type="slidenum">
              <a:rPr lang="en-US" altLang="en-US" smtClean="0"/>
              <a:pPr>
                <a:defRPr/>
              </a:pPr>
              <a:t>12</a:t>
            </a:fld>
            <a:endParaRPr lang="en-US" altLang="en-US"/>
          </a:p>
        </p:txBody>
      </p:sp>
    </p:spTree>
    <p:extLst>
      <p:ext uri="{BB962C8B-B14F-4D97-AF65-F5344CB8AC3E}">
        <p14:creationId xmlns:p14="http://schemas.microsoft.com/office/powerpoint/2010/main" val="30008172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ark Blue Title Slide">
    <p:spTree>
      <p:nvGrpSpPr>
        <p:cNvPr id="1" name=""/>
        <p:cNvGrpSpPr/>
        <p:nvPr/>
      </p:nvGrpSpPr>
      <p:grpSpPr>
        <a:xfrm>
          <a:off x="0" y="0"/>
          <a:ext cx="0" cy="0"/>
          <a:chOff x="0" y="0"/>
          <a:chExt cx="0" cy="0"/>
        </a:xfrm>
      </p:grpSpPr>
      <p:sp>
        <p:nvSpPr>
          <p:cNvPr id="5" name="Rectangle 4"/>
          <p:cNvSpPr>
            <a:spLocks noChangeArrowheads="1"/>
          </p:cNvSpPr>
          <p:nvPr/>
        </p:nvSpPr>
        <p:spPr bwMode="auto">
          <a:xfrm flipV="1">
            <a:off x="0" y="4487863"/>
            <a:ext cx="9144000" cy="2370137"/>
          </a:xfrm>
          <a:prstGeom prst="rect">
            <a:avLst/>
          </a:prstGeom>
          <a:solidFill>
            <a:schemeClr val="bg1"/>
          </a:solidFill>
          <a:ln>
            <a:noFill/>
          </a:ln>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 name="Rectangle 5"/>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7"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0"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1" name="Freeform 1098"/>
          <p:cNvSpPr>
            <a:spLocks/>
          </p:cNvSpPr>
          <p:nvPr/>
        </p:nvSpPr>
        <p:spPr bwMode="auto">
          <a:xfrm>
            <a:off x="487363" y="617538"/>
            <a:ext cx="3175" cy="1587"/>
          </a:xfrm>
          <a:custGeom>
            <a:avLst/>
            <a:gdLst>
              <a:gd name="T0" fmla="*/ 0 w 2"/>
              <a:gd name="T1" fmla="*/ 0 h 1587"/>
              <a:gd name="T2" fmla="*/ 5040313 w 2"/>
              <a:gd name="T3" fmla="*/ 0 h 1587"/>
              <a:gd name="T4" fmla="*/ 5040313 w 2"/>
              <a:gd name="T5" fmla="*/ 0 h 1587"/>
              <a:gd name="T6" fmla="*/ 5040313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5040313 w 2"/>
              <a:gd name="T35" fmla="*/ 0 h 1587"/>
              <a:gd name="T36" fmla="*/ 5040313 w 2"/>
              <a:gd name="T37" fmla="*/ 0 h 1587"/>
              <a:gd name="T38" fmla="*/ 5040313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15"/>
          <p:cNvSpPr>
            <a:spLocks/>
          </p:cNvSpPr>
          <p:nvPr/>
        </p:nvSpPr>
        <p:spPr bwMode="auto">
          <a:xfrm>
            <a:off x="458788" y="473075"/>
            <a:ext cx="3175" cy="3175"/>
          </a:xfrm>
          <a:custGeom>
            <a:avLst/>
            <a:gdLst>
              <a:gd name="T0" fmla="*/ 0 w 2"/>
              <a:gd name="T1" fmla="*/ 5040313 h 2"/>
              <a:gd name="T2" fmla="*/ 0 w 2"/>
              <a:gd name="T3" fmla="*/ 5040313 h 2"/>
              <a:gd name="T4" fmla="*/ 0 w 2"/>
              <a:gd name="T5" fmla="*/ 5040313 h 2"/>
              <a:gd name="T6" fmla="*/ 0 w 2"/>
              <a:gd name="T7" fmla="*/ 5040313 h 2"/>
              <a:gd name="T8" fmla="*/ 0 w 2"/>
              <a:gd name="T9" fmla="*/ 5040313 h 2"/>
              <a:gd name="T10" fmla="*/ 0 w 2"/>
              <a:gd name="T11" fmla="*/ 5040313 h 2"/>
              <a:gd name="T12" fmla="*/ 5040313 w 2"/>
              <a:gd name="T13" fmla="*/ 5040313 h 2"/>
              <a:gd name="T14" fmla="*/ 5040313 w 2"/>
              <a:gd name="T15" fmla="*/ 5040313 h 2"/>
              <a:gd name="T16" fmla="*/ 5040313 w 2"/>
              <a:gd name="T17" fmla="*/ 0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5040313 w 2"/>
              <a:gd name="T29" fmla="*/ 5040313 h 2"/>
              <a:gd name="T30" fmla="*/ 5040313 w 2"/>
              <a:gd name="T31" fmla="*/ 5040313 h 2"/>
              <a:gd name="T32" fmla="*/ 5040313 w 2"/>
              <a:gd name="T33" fmla="*/ 5040313 h 2"/>
              <a:gd name="T34" fmla="*/ 5040313 w 2"/>
              <a:gd name="T35" fmla="*/ 5040313 h 2"/>
              <a:gd name="T36" fmla="*/ 5040313 w 2"/>
              <a:gd name="T37" fmla="*/ 5040313 h 2"/>
              <a:gd name="T38" fmla="*/ 5040313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5040313 w 2"/>
              <a:gd name="T55" fmla="*/ 5040313 h 2"/>
              <a:gd name="T56" fmla="*/ 0 w 2"/>
              <a:gd name="T57" fmla="*/ 5040313 h 2"/>
              <a:gd name="T58" fmla="*/ 5040313 w 2"/>
              <a:gd name="T59" fmla="*/ 5040313 h 2"/>
              <a:gd name="T60" fmla="*/ 5040313 w 2"/>
              <a:gd name="T61" fmla="*/ 5040313 h 2"/>
              <a:gd name="T62" fmla="*/ 5040313 w 2"/>
              <a:gd name="T63" fmla="*/ 5040313 h 2"/>
              <a:gd name="T64" fmla="*/ 0 w 2"/>
              <a:gd name="T65" fmla="*/ 5040313 h 2"/>
              <a:gd name="T66" fmla="*/ 0 w 2"/>
              <a:gd name="T67" fmla="*/ 5040313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20"/>
          <p:cNvSpPr>
            <a:spLocks/>
          </p:cNvSpPr>
          <p:nvPr/>
        </p:nvSpPr>
        <p:spPr bwMode="auto">
          <a:xfrm>
            <a:off x="458788" y="463550"/>
            <a:ext cx="3175" cy="3175"/>
          </a:xfrm>
          <a:custGeom>
            <a:avLst/>
            <a:gdLst>
              <a:gd name="T0" fmla="*/ 0 w 2"/>
              <a:gd name="T1" fmla="*/ 0 h 2"/>
              <a:gd name="T2" fmla="*/ 0 w 2"/>
              <a:gd name="T3" fmla="*/ 5040313 h 2"/>
              <a:gd name="T4" fmla="*/ 0 w 2"/>
              <a:gd name="T5" fmla="*/ 5040313 h 2"/>
              <a:gd name="T6" fmla="*/ 0 w 2"/>
              <a:gd name="T7" fmla="*/ 5040313 h 2"/>
              <a:gd name="T8" fmla="*/ 5040313 w 2"/>
              <a:gd name="T9" fmla="*/ 5040313 h 2"/>
              <a:gd name="T10" fmla="*/ 5040313 w 2"/>
              <a:gd name="T11" fmla="*/ 0 h 2"/>
              <a:gd name="T12" fmla="*/ 5040313 w 2"/>
              <a:gd name="T13" fmla="*/ 0 h 2"/>
              <a:gd name="T14" fmla="*/ 5040313 w 2"/>
              <a:gd name="T15" fmla="*/ 0 h 2"/>
              <a:gd name="T16" fmla="*/ 0 w 2"/>
              <a:gd name="T17" fmla="*/ 0 h 2"/>
              <a:gd name="T18" fmla="*/ 0 w 2"/>
              <a:gd name="T19" fmla="*/ 5040313 h 2"/>
              <a:gd name="T20" fmla="*/ 0 w 2"/>
              <a:gd name="T21" fmla="*/ 5040313 h 2"/>
              <a:gd name="T22" fmla="*/ 5040313 w 2"/>
              <a:gd name="T23" fmla="*/ 0 h 2"/>
              <a:gd name="T24" fmla="*/ 5040313 w 2"/>
              <a:gd name="T25" fmla="*/ 0 h 2"/>
              <a:gd name="T26" fmla="*/ 5040313 w 2"/>
              <a:gd name="T27" fmla="*/ 0 h 2"/>
              <a:gd name="T28" fmla="*/ 5040313 w 2"/>
              <a:gd name="T29" fmla="*/ 5040313 h 2"/>
              <a:gd name="T30" fmla="*/ 0 w 2"/>
              <a:gd name="T31" fmla="*/ 5040313 h 2"/>
              <a:gd name="T32" fmla="*/ 0 w 2"/>
              <a:gd name="T33" fmla="*/ 5040313 h 2"/>
              <a:gd name="T34" fmla="*/ 0 w 2"/>
              <a:gd name="T35" fmla="*/ 5040313 h 2"/>
              <a:gd name="T36" fmla="*/ 0 w 2"/>
              <a:gd name="T37" fmla="*/ 5040313 h 2"/>
              <a:gd name="T38" fmla="*/ 0 w 2"/>
              <a:gd name="T39" fmla="*/ 5040313 h 2"/>
              <a:gd name="T40" fmla="*/ 0 w 2"/>
              <a:gd name="T41" fmla="*/ 5040313 h 2"/>
              <a:gd name="T42" fmla="*/ 0 w 2"/>
              <a:gd name="T43" fmla="*/ 5040313 h 2"/>
              <a:gd name="T44" fmla="*/ 0 w 2"/>
              <a:gd name="T45" fmla="*/ 5040313 h 2"/>
              <a:gd name="T46" fmla="*/ 5040313 w 2"/>
              <a:gd name="T47" fmla="*/ 5040313 h 2"/>
              <a:gd name="T48" fmla="*/ 0 w 2"/>
              <a:gd name="T49" fmla="*/ 5040313 h 2"/>
              <a:gd name="T50" fmla="*/ 0 w 2"/>
              <a:gd name="T51" fmla="*/ 5040313 h 2"/>
              <a:gd name="T52" fmla="*/ 5040313 w 2"/>
              <a:gd name="T53" fmla="*/ 5040313 h 2"/>
              <a:gd name="T54" fmla="*/ 5040313 w 2"/>
              <a:gd name="T55" fmla="*/ 5040313 h 2"/>
              <a:gd name="T56" fmla="*/ 5040313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34"/>
          <p:cNvSpPr>
            <a:spLocks/>
          </p:cNvSpPr>
          <p:nvPr/>
        </p:nvSpPr>
        <p:spPr bwMode="auto">
          <a:xfrm>
            <a:off x="703263" y="514350"/>
            <a:ext cx="3175" cy="6350"/>
          </a:xfrm>
          <a:custGeom>
            <a:avLst/>
            <a:gdLst>
              <a:gd name="T0" fmla="*/ 5040313 w 2"/>
              <a:gd name="T1" fmla="*/ 10080625 h 4"/>
              <a:gd name="T2" fmla="*/ 5040313 w 2"/>
              <a:gd name="T3" fmla="*/ 10080625 h 4"/>
              <a:gd name="T4" fmla="*/ 5040313 w 2"/>
              <a:gd name="T5" fmla="*/ 10080625 h 4"/>
              <a:gd name="T6" fmla="*/ 5040313 w 2"/>
              <a:gd name="T7" fmla="*/ 5040313 h 4"/>
              <a:gd name="T8" fmla="*/ 5040313 w 2"/>
              <a:gd name="T9" fmla="*/ 0 h 4"/>
              <a:gd name="T10" fmla="*/ 5040313 w 2"/>
              <a:gd name="T11" fmla="*/ 0 h 4"/>
              <a:gd name="T12" fmla="*/ 5040313 w 2"/>
              <a:gd name="T13" fmla="*/ 0 h 4"/>
              <a:gd name="T14" fmla="*/ 0 w 2"/>
              <a:gd name="T15" fmla="*/ 5040313 h 4"/>
              <a:gd name="T16" fmla="*/ 5040313 w 2"/>
              <a:gd name="T17" fmla="*/ 10080625 h 4"/>
              <a:gd name="T18" fmla="*/ 5040313 w 2"/>
              <a:gd name="T19" fmla="*/ 5040313 h 4"/>
              <a:gd name="T20" fmla="*/ 5040313 w 2"/>
              <a:gd name="T21" fmla="*/ 5040313 h 4"/>
              <a:gd name="T22" fmla="*/ 5040313 w 2"/>
              <a:gd name="T23" fmla="*/ 0 h 4"/>
              <a:gd name="T24" fmla="*/ 5040313 w 2"/>
              <a:gd name="T25" fmla="*/ 5040313 h 4"/>
              <a:gd name="T26" fmla="*/ 5040313 w 2"/>
              <a:gd name="T27" fmla="*/ 5040313 h 4"/>
              <a:gd name="T28" fmla="*/ 5040313 w 2"/>
              <a:gd name="T29" fmla="*/ 5040313 h 4"/>
              <a:gd name="T30" fmla="*/ 5040313 w 2"/>
              <a:gd name="T31" fmla="*/ 5040313 h 4"/>
              <a:gd name="T32" fmla="*/ 5040313 w 2"/>
              <a:gd name="T33" fmla="*/ 5040313 h 4"/>
              <a:gd name="T34" fmla="*/ 5040313 w 2"/>
              <a:gd name="T35" fmla="*/ 5040313 h 4"/>
              <a:gd name="T36" fmla="*/ 5040313 w 2"/>
              <a:gd name="T37" fmla="*/ 5040313 h 4"/>
              <a:gd name="T38" fmla="*/ 5040313 w 2"/>
              <a:gd name="T39" fmla="*/ 5040313 h 4"/>
              <a:gd name="T40" fmla="*/ 5040313 w 2"/>
              <a:gd name="T41" fmla="*/ 5040313 h 4"/>
              <a:gd name="T42" fmla="*/ 5040313 w 2"/>
              <a:gd name="T43" fmla="*/ 5040313 h 4"/>
              <a:gd name="T44" fmla="*/ 5040313 w 2"/>
              <a:gd name="T45" fmla="*/ 5040313 h 4"/>
              <a:gd name="T46" fmla="*/ 5040313 w 2"/>
              <a:gd name="T47" fmla="*/ 5040313 h 4"/>
              <a:gd name="T48" fmla="*/ 5040313 w 2"/>
              <a:gd name="T49" fmla="*/ 5040313 h 4"/>
              <a:gd name="T50" fmla="*/ 5040313 w 2"/>
              <a:gd name="T51" fmla="*/ 5040313 h 4"/>
              <a:gd name="T52" fmla="*/ 0 w 2"/>
              <a:gd name="T53" fmla="*/ 5040313 h 4"/>
              <a:gd name="T54" fmla="*/ 5040313 w 2"/>
              <a:gd name="T55" fmla="*/ 10080625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41"/>
          <p:cNvSpPr>
            <a:spLocks/>
          </p:cNvSpPr>
          <p:nvPr/>
        </p:nvSpPr>
        <p:spPr bwMode="auto">
          <a:xfrm>
            <a:off x="706438" y="479425"/>
            <a:ext cx="1587" cy="6350"/>
          </a:xfrm>
          <a:custGeom>
            <a:avLst/>
            <a:gdLst>
              <a:gd name="T0" fmla="*/ 0 w 1587"/>
              <a:gd name="T1" fmla="*/ 10080625 h 4"/>
              <a:gd name="T2" fmla="*/ 0 w 1587"/>
              <a:gd name="T3" fmla="*/ 5040313 h 4"/>
              <a:gd name="T4" fmla="*/ 0 w 1587"/>
              <a:gd name="T5" fmla="*/ 0 h 4"/>
              <a:gd name="T6" fmla="*/ 0 w 1587"/>
              <a:gd name="T7" fmla="*/ 0 h 4"/>
              <a:gd name="T8" fmla="*/ 0 w 1587"/>
              <a:gd name="T9" fmla="*/ 5040313 h 4"/>
              <a:gd name="T10" fmla="*/ 0 w 1587"/>
              <a:gd name="T11" fmla="*/ 5040313 h 4"/>
              <a:gd name="T12" fmla="*/ 0 w 1587"/>
              <a:gd name="T13" fmla="*/ 10080625 h 4"/>
              <a:gd name="T14" fmla="*/ 0 w 1587"/>
              <a:gd name="T15" fmla="*/ 5040313 h 4"/>
              <a:gd name="T16" fmla="*/ 0 w 1587"/>
              <a:gd name="T17" fmla="*/ 5040313 h 4"/>
              <a:gd name="T18" fmla="*/ 0 w 1587"/>
              <a:gd name="T19" fmla="*/ 5040313 h 4"/>
              <a:gd name="T20" fmla="*/ 0 w 1587"/>
              <a:gd name="T21" fmla="*/ 5040313 h 4"/>
              <a:gd name="T22" fmla="*/ 0 w 1587"/>
              <a:gd name="T23" fmla="*/ 5040313 h 4"/>
              <a:gd name="T24" fmla="*/ 0 w 1587"/>
              <a:gd name="T25" fmla="*/ 5040313 h 4"/>
              <a:gd name="T26" fmla="*/ 0 w 1587"/>
              <a:gd name="T27" fmla="*/ 5040313 h 4"/>
              <a:gd name="T28" fmla="*/ 0 w 1587"/>
              <a:gd name="T29" fmla="*/ 10080625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48"/>
          <p:cNvSpPr>
            <a:spLocks/>
          </p:cNvSpPr>
          <p:nvPr/>
        </p:nvSpPr>
        <p:spPr bwMode="auto">
          <a:xfrm>
            <a:off x="693738" y="460375"/>
            <a:ext cx="3175" cy="3175"/>
          </a:xfrm>
          <a:custGeom>
            <a:avLst/>
            <a:gdLst>
              <a:gd name="T0" fmla="*/ 5040313 w 2"/>
              <a:gd name="T1" fmla="*/ 5040313 h 2"/>
              <a:gd name="T2" fmla="*/ 5040313 w 2"/>
              <a:gd name="T3" fmla="*/ 0 h 2"/>
              <a:gd name="T4" fmla="*/ 5040313 w 2"/>
              <a:gd name="T5" fmla="*/ 0 h 2"/>
              <a:gd name="T6" fmla="*/ 5040313 w 2"/>
              <a:gd name="T7" fmla="*/ 0 h 2"/>
              <a:gd name="T8" fmla="*/ 5040313 w 2"/>
              <a:gd name="T9" fmla="*/ 0 h 2"/>
              <a:gd name="T10" fmla="*/ 0 w 2"/>
              <a:gd name="T11" fmla="*/ 0 h 2"/>
              <a:gd name="T12" fmla="*/ 0 w 2"/>
              <a:gd name="T13" fmla="*/ 0 h 2"/>
              <a:gd name="T14" fmla="*/ 0 w 2"/>
              <a:gd name="T15" fmla="*/ 5040313 h 2"/>
              <a:gd name="T16" fmla="*/ 0 w 2"/>
              <a:gd name="T17" fmla="*/ 5040313 h 2"/>
              <a:gd name="T18" fmla="*/ 0 w 2"/>
              <a:gd name="T19" fmla="*/ 5040313 h 2"/>
              <a:gd name="T20" fmla="*/ 5040313 w 2"/>
              <a:gd name="T21" fmla="*/ 5040313 h 2"/>
              <a:gd name="T22" fmla="*/ 5040313 w 2"/>
              <a:gd name="T23" fmla="*/ 5040313 h 2"/>
              <a:gd name="T24" fmla="*/ 5040313 w 2"/>
              <a:gd name="T25" fmla="*/ 0 h 2"/>
              <a:gd name="T26" fmla="*/ 5040313 w 2"/>
              <a:gd name="T27" fmla="*/ 0 h 2"/>
              <a:gd name="T28" fmla="*/ 5040313 w 2"/>
              <a:gd name="T29" fmla="*/ 0 h 2"/>
              <a:gd name="T30" fmla="*/ 0 w 2"/>
              <a:gd name="T31" fmla="*/ 5040313 h 2"/>
              <a:gd name="T32" fmla="*/ 5040313 w 2"/>
              <a:gd name="T33" fmla="*/ 5040313 h 2"/>
              <a:gd name="T34" fmla="*/ 5040313 w 2"/>
              <a:gd name="T35" fmla="*/ 0 h 2"/>
              <a:gd name="T36" fmla="*/ 0 w 2"/>
              <a:gd name="T37" fmla="*/ 5040313 h 2"/>
              <a:gd name="T38" fmla="*/ 5040313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0 w 2"/>
              <a:gd name="T55" fmla="*/ 5040313 h 2"/>
              <a:gd name="T56" fmla="*/ 0 w 2"/>
              <a:gd name="T57" fmla="*/ 5040313 h 2"/>
              <a:gd name="T58" fmla="*/ 5040313 w 2"/>
              <a:gd name="T59" fmla="*/ 5040313 h 2"/>
              <a:gd name="T60" fmla="*/ 5040313 w 2"/>
              <a:gd name="T61" fmla="*/ 5040313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0"/>
          <p:cNvSpPr>
            <a:spLocks/>
          </p:cNvSpPr>
          <p:nvPr/>
        </p:nvSpPr>
        <p:spPr bwMode="auto">
          <a:xfrm>
            <a:off x="684213" y="447675"/>
            <a:ext cx="1587" cy="3175"/>
          </a:xfrm>
          <a:custGeom>
            <a:avLst/>
            <a:gdLst>
              <a:gd name="T0" fmla="*/ 0 w 1587"/>
              <a:gd name="T1" fmla="*/ 5040313 h 2"/>
              <a:gd name="T2" fmla="*/ 0 w 1587"/>
              <a:gd name="T3" fmla="*/ 0 h 2"/>
              <a:gd name="T4" fmla="*/ 0 w 1587"/>
              <a:gd name="T5" fmla="*/ 5040313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2"/>
          <p:cNvSpPr>
            <a:spLocks/>
          </p:cNvSpPr>
          <p:nvPr/>
        </p:nvSpPr>
        <p:spPr bwMode="auto">
          <a:xfrm>
            <a:off x="684213" y="447675"/>
            <a:ext cx="3175" cy="3175"/>
          </a:xfrm>
          <a:custGeom>
            <a:avLst/>
            <a:gdLst>
              <a:gd name="T0" fmla="*/ 5040313 w 2"/>
              <a:gd name="T1" fmla="*/ 0 h 2"/>
              <a:gd name="T2" fmla="*/ 0 w 2"/>
              <a:gd name="T3" fmla="*/ 0 h 2"/>
              <a:gd name="T4" fmla="*/ 0 w 2"/>
              <a:gd name="T5" fmla="*/ 0 h 2"/>
              <a:gd name="T6" fmla="*/ 0 w 2"/>
              <a:gd name="T7" fmla="*/ 0 h 2"/>
              <a:gd name="T8" fmla="*/ 0 w 2"/>
              <a:gd name="T9" fmla="*/ 5040313 h 2"/>
              <a:gd name="T10" fmla="*/ 5040313 w 2"/>
              <a:gd name="T11" fmla="*/ 5040313 h 2"/>
              <a:gd name="T12" fmla="*/ 5040313 w 2"/>
              <a:gd name="T13" fmla="*/ 0 h 2"/>
              <a:gd name="T14" fmla="*/ 0 w 2"/>
              <a:gd name="T15" fmla="*/ 0 h 2"/>
              <a:gd name="T16" fmla="*/ 0 w 2"/>
              <a:gd name="T17" fmla="*/ 0 h 2"/>
              <a:gd name="T18" fmla="*/ 0 w 2"/>
              <a:gd name="T19" fmla="*/ 0 h 2"/>
              <a:gd name="T20" fmla="*/ 0 w 2"/>
              <a:gd name="T21" fmla="*/ 5040313 h 2"/>
              <a:gd name="T22" fmla="*/ 5040313 w 2"/>
              <a:gd name="T23" fmla="*/ 5040313 h 2"/>
              <a:gd name="T24" fmla="*/ 5040313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54"/>
          <p:cNvSpPr>
            <a:spLocks/>
          </p:cNvSpPr>
          <p:nvPr/>
        </p:nvSpPr>
        <p:spPr bwMode="auto">
          <a:xfrm>
            <a:off x="665163" y="434975"/>
            <a:ext cx="3175" cy="1588"/>
          </a:xfrm>
          <a:custGeom>
            <a:avLst/>
            <a:gdLst>
              <a:gd name="T0" fmla="*/ 5040313 w 2"/>
              <a:gd name="T1" fmla="*/ 0 h 1588"/>
              <a:gd name="T2" fmla="*/ 0 w 2"/>
              <a:gd name="T3" fmla="*/ 0 h 1588"/>
              <a:gd name="T4" fmla="*/ 5040313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56"/>
          <p:cNvSpPr>
            <a:spLocks/>
          </p:cNvSpPr>
          <p:nvPr/>
        </p:nvSpPr>
        <p:spPr bwMode="auto">
          <a:xfrm>
            <a:off x="665163" y="431800"/>
            <a:ext cx="3175" cy="3175"/>
          </a:xfrm>
          <a:custGeom>
            <a:avLst/>
            <a:gdLst>
              <a:gd name="T0" fmla="*/ 5040313 w 2"/>
              <a:gd name="T1" fmla="*/ 5040313 h 2"/>
              <a:gd name="T2" fmla="*/ 0 w 2"/>
              <a:gd name="T3" fmla="*/ 0 h 2"/>
              <a:gd name="T4" fmla="*/ 0 w 2"/>
              <a:gd name="T5" fmla="*/ 0 h 2"/>
              <a:gd name="T6" fmla="*/ 0 w 2"/>
              <a:gd name="T7" fmla="*/ 5040313 h 2"/>
              <a:gd name="T8" fmla="*/ 5040313 w 2"/>
              <a:gd name="T9" fmla="*/ 5040313 h 2"/>
              <a:gd name="T10" fmla="*/ 5040313 w 2"/>
              <a:gd name="T11" fmla="*/ 5040313 h 2"/>
              <a:gd name="T12" fmla="*/ 5040313 w 2"/>
              <a:gd name="T13" fmla="*/ 5040313 h 2"/>
              <a:gd name="T14" fmla="*/ 0 w 2"/>
              <a:gd name="T15" fmla="*/ 0 h 2"/>
              <a:gd name="T16" fmla="*/ 0 w 2"/>
              <a:gd name="T17" fmla="*/ 0 h 2"/>
              <a:gd name="T18" fmla="*/ 0 w 2"/>
              <a:gd name="T19" fmla="*/ 5040313 h 2"/>
              <a:gd name="T20" fmla="*/ 5040313 w 2"/>
              <a:gd name="T21" fmla="*/ 5040313 h 2"/>
              <a:gd name="T22" fmla="*/ 5040313 w 2"/>
              <a:gd name="T23" fmla="*/ 5040313 h 2"/>
              <a:gd name="T24" fmla="*/ 5040313 w 2"/>
              <a:gd name="T25" fmla="*/ 5040313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63"/>
          <p:cNvSpPr>
            <a:spLocks/>
          </p:cNvSpPr>
          <p:nvPr/>
        </p:nvSpPr>
        <p:spPr bwMode="auto">
          <a:xfrm>
            <a:off x="611188" y="415925"/>
            <a:ext cx="6350" cy="3175"/>
          </a:xfrm>
          <a:custGeom>
            <a:avLst/>
            <a:gdLst>
              <a:gd name="T0" fmla="*/ 5040313 w 4"/>
              <a:gd name="T1" fmla="*/ 5040313 h 2"/>
              <a:gd name="T2" fmla="*/ 5040313 w 4"/>
              <a:gd name="T3" fmla="*/ 5040313 h 2"/>
              <a:gd name="T4" fmla="*/ 10080625 w 4"/>
              <a:gd name="T5" fmla="*/ 5040313 h 2"/>
              <a:gd name="T6" fmla="*/ 10080625 w 4"/>
              <a:gd name="T7" fmla="*/ 0 h 2"/>
              <a:gd name="T8" fmla="*/ 10080625 w 4"/>
              <a:gd name="T9" fmla="*/ 0 h 2"/>
              <a:gd name="T10" fmla="*/ 5040313 w 4"/>
              <a:gd name="T11" fmla="*/ 0 h 2"/>
              <a:gd name="T12" fmla="*/ 5040313 w 4"/>
              <a:gd name="T13" fmla="*/ 0 h 2"/>
              <a:gd name="T14" fmla="*/ 0 w 4"/>
              <a:gd name="T15" fmla="*/ 5040313 h 2"/>
              <a:gd name="T16" fmla="*/ 5040313 w 4"/>
              <a:gd name="T17" fmla="*/ 5040313 h 2"/>
              <a:gd name="T18" fmla="*/ 5040313 w 4"/>
              <a:gd name="T19" fmla="*/ 0 h 2"/>
              <a:gd name="T20" fmla="*/ 10080625 w 4"/>
              <a:gd name="T21" fmla="*/ 5040313 h 2"/>
              <a:gd name="T22" fmla="*/ 10080625 w 4"/>
              <a:gd name="T23" fmla="*/ 0 h 2"/>
              <a:gd name="T24" fmla="*/ 10080625 w 4"/>
              <a:gd name="T25" fmla="*/ 0 h 2"/>
              <a:gd name="T26" fmla="*/ 5040313 w 4"/>
              <a:gd name="T27" fmla="*/ 0 h 2"/>
              <a:gd name="T28" fmla="*/ 5040313 w 4"/>
              <a:gd name="T29" fmla="*/ 0 h 2"/>
              <a:gd name="T30" fmla="*/ 0 w 4"/>
              <a:gd name="T31" fmla="*/ 0 h 2"/>
              <a:gd name="T32" fmla="*/ 5040313 w 4"/>
              <a:gd name="T33" fmla="*/ 5040313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72"/>
          <p:cNvSpPr>
            <a:spLocks/>
          </p:cNvSpPr>
          <p:nvPr/>
        </p:nvSpPr>
        <p:spPr bwMode="auto">
          <a:xfrm>
            <a:off x="582613" y="476250"/>
            <a:ext cx="3175" cy="3175"/>
          </a:xfrm>
          <a:custGeom>
            <a:avLst/>
            <a:gdLst>
              <a:gd name="T0" fmla="*/ 0 w 2"/>
              <a:gd name="T1" fmla="*/ 5040313 h 2"/>
              <a:gd name="T2" fmla="*/ 0 w 2"/>
              <a:gd name="T3" fmla="*/ 5040313 h 2"/>
              <a:gd name="T4" fmla="*/ 5040313 w 2"/>
              <a:gd name="T5" fmla="*/ 5040313 h 2"/>
              <a:gd name="T6" fmla="*/ 0 w 2"/>
              <a:gd name="T7" fmla="*/ 0 h 2"/>
              <a:gd name="T8" fmla="*/ 0 w 2"/>
              <a:gd name="T9" fmla="*/ 0 h 2"/>
              <a:gd name="T10" fmla="*/ 0 w 2"/>
              <a:gd name="T11" fmla="*/ 0 h 2"/>
              <a:gd name="T12" fmla="*/ 0 w 2"/>
              <a:gd name="T13" fmla="*/ 5040313 h 2"/>
              <a:gd name="T14" fmla="*/ 0 w 2"/>
              <a:gd name="T15" fmla="*/ 5040313 h 2"/>
              <a:gd name="T16" fmla="*/ 0 w 2"/>
              <a:gd name="T17" fmla="*/ 5040313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0 w 2"/>
              <a:gd name="T29" fmla="*/ 5040313 h 2"/>
              <a:gd name="T30" fmla="*/ 0 w 2"/>
              <a:gd name="T31" fmla="*/ 5040313 h 2"/>
              <a:gd name="T32" fmla="*/ 0 w 2"/>
              <a:gd name="T33" fmla="*/ 5040313 h 2"/>
              <a:gd name="T34" fmla="*/ 0 w 2"/>
              <a:gd name="T35" fmla="*/ 5040313 h 2"/>
              <a:gd name="T36" fmla="*/ 0 w 2"/>
              <a:gd name="T37" fmla="*/ 5040313 h 2"/>
              <a:gd name="T38" fmla="*/ 0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0 w 2"/>
              <a:gd name="T55" fmla="*/ 5040313 h 2"/>
              <a:gd name="T56" fmla="*/ 0 w 2"/>
              <a:gd name="T57" fmla="*/ 5040313 h 2"/>
              <a:gd name="T58" fmla="*/ 0 w 2"/>
              <a:gd name="T59" fmla="*/ 5040313 h 2"/>
              <a:gd name="T60" fmla="*/ 0 w 2"/>
              <a:gd name="T61" fmla="*/ 5040313 h 2"/>
              <a:gd name="T62" fmla="*/ 0 w 2"/>
              <a:gd name="T63" fmla="*/ 5040313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177"/>
          <p:cNvSpPr>
            <a:spLocks/>
          </p:cNvSpPr>
          <p:nvPr/>
        </p:nvSpPr>
        <p:spPr bwMode="auto">
          <a:xfrm>
            <a:off x="557213" y="534988"/>
            <a:ext cx="3175" cy="3175"/>
          </a:xfrm>
          <a:custGeom>
            <a:avLst/>
            <a:gdLst>
              <a:gd name="T0" fmla="*/ 0 w 2"/>
              <a:gd name="T1" fmla="*/ 5040313 h 2"/>
              <a:gd name="T2" fmla="*/ 5040313 w 2"/>
              <a:gd name="T3" fmla="*/ 5040313 h 2"/>
              <a:gd name="T4" fmla="*/ 5040313 w 2"/>
              <a:gd name="T5" fmla="*/ 5040313 h 2"/>
              <a:gd name="T6" fmla="*/ 5040313 w 2"/>
              <a:gd name="T7" fmla="*/ 0 h 2"/>
              <a:gd name="T8" fmla="*/ 5040313 w 2"/>
              <a:gd name="T9" fmla="*/ 0 h 2"/>
              <a:gd name="T10" fmla="*/ 5040313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5040313 h 2"/>
              <a:gd name="T40" fmla="*/ 0 w 2"/>
              <a:gd name="T41" fmla="*/ 5040313 h 2"/>
              <a:gd name="T42" fmla="*/ 5040313 w 2"/>
              <a:gd name="T43" fmla="*/ 5040313 h 2"/>
              <a:gd name="T44" fmla="*/ 5040313 w 2"/>
              <a:gd name="T45" fmla="*/ 0 h 2"/>
              <a:gd name="T46" fmla="*/ 5040313 w 2"/>
              <a:gd name="T47" fmla="*/ 0 h 2"/>
              <a:gd name="T48" fmla="*/ 5040313 w 2"/>
              <a:gd name="T49" fmla="*/ 0 h 2"/>
              <a:gd name="T50" fmla="*/ 5040313 w 2"/>
              <a:gd name="T51" fmla="*/ 0 h 2"/>
              <a:gd name="T52" fmla="*/ 5040313 w 2"/>
              <a:gd name="T53" fmla="*/ 0 h 2"/>
              <a:gd name="T54" fmla="*/ 5040313 w 2"/>
              <a:gd name="T55" fmla="*/ 0 h 2"/>
              <a:gd name="T56" fmla="*/ 5040313 w 2"/>
              <a:gd name="T57" fmla="*/ 0 h 2"/>
              <a:gd name="T58" fmla="*/ 5040313 w 2"/>
              <a:gd name="T59" fmla="*/ 0 h 2"/>
              <a:gd name="T60" fmla="*/ 5040313 w 2"/>
              <a:gd name="T61" fmla="*/ 0 h 2"/>
              <a:gd name="T62" fmla="*/ 5040313 w 2"/>
              <a:gd name="T63" fmla="*/ 0 h 2"/>
              <a:gd name="T64" fmla="*/ 5040313 w 2"/>
              <a:gd name="T65" fmla="*/ 0 h 2"/>
              <a:gd name="T66" fmla="*/ 5040313 w 2"/>
              <a:gd name="T67" fmla="*/ 5040313 h 2"/>
              <a:gd name="T68" fmla="*/ 5040313 w 2"/>
              <a:gd name="T69" fmla="*/ 0 h 2"/>
              <a:gd name="T70" fmla="*/ 5040313 w 2"/>
              <a:gd name="T71" fmla="*/ 0 h 2"/>
              <a:gd name="T72" fmla="*/ 0 w 2"/>
              <a:gd name="T73" fmla="*/ 0 h 2"/>
              <a:gd name="T74" fmla="*/ 0 w 2"/>
              <a:gd name="T75" fmla="*/ 0 h 2"/>
              <a:gd name="T76" fmla="*/ 0 w 2"/>
              <a:gd name="T77" fmla="*/ 5040313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1180"/>
          <p:cNvSpPr>
            <a:spLocks/>
          </p:cNvSpPr>
          <p:nvPr/>
        </p:nvSpPr>
        <p:spPr bwMode="auto">
          <a:xfrm>
            <a:off x="560388" y="530225"/>
            <a:ext cx="3175" cy="4763"/>
          </a:xfrm>
          <a:custGeom>
            <a:avLst/>
            <a:gdLst>
              <a:gd name="T0" fmla="*/ 0 w 2"/>
              <a:gd name="T1" fmla="*/ 7562056 h 3"/>
              <a:gd name="T2" fmla="*/ 0 w 2"/>
              <a:gd name="T3" fmla="*/ 7562056 h 3"/>
              <a:gd name="T4" fmla="*/ 5040313 w 2"/>
              <a:gd name="T5" fmla="*/ 7562056 h 3"/>
              <a:gd name="T6" fmla="*/ 5040313 w 2"/>
              <a:gd name="T7" fmla="*/ 7562056 h 3"/>
              <a:gd name="T8" fmla="*/ 0 w 2"/>
              <a:gd name="T9" fmla="*/ 0 h 3"/>
              <a:gd name="T10" fmla="*/ 0 w 2"/>
              <a:gd name="T11" fmla="*/ 0 h 3"/>
              <a:gd name="T12" fmla="*/ 0 w 2"/>
              <a:gd name="T13" fmla="*/ 0 h 3"/>
              <a:gd name="T14" fmla="*/ 0 w 2"/>
              <a:gd name="T15" fmla="*/ 7562056 h 3"/>
              <a:gd name="T16" fmla="*/ 0 w 2"/>
              <a:gd name="T17" fmla="*/ 7562056 h 3"/>
              <a:gd name="T18" fmla="*/ 0 w 2"/>
              <a:gd name="T19" fmla="*/ 7562056 h 3"/>
              <a:gd name="T20" fmla="*/ 0 w 2"/>
              <a:gd name="T21" fmla="*/ 7562056 h 3"/>
              <a:gd name="T22" fmla="*/ 0 w 2"/>
              <a:gd name="T23" fmla="*/ 0 h 3"/>
              <a:gd name="T24" fmla="*/ 0 w 2"/>
              <a:gd name="T25" fmla="*/ 7562056 h 3"/>
              <a:gd name="T26" fmla="*/ 0 w 2"/>
              <a:gd name="T27" fmla="*/ 7562056 h 3"/>
              <a:gd name="T28" fmla="*/ 0 w 2"/>
              <a:gd name="T29" fmla="*/ 7562056 h 3"/>
              <a:gd name="T30" fmla="*/ 0 w 2"/>
              <a:gd name="T31" fmla="*/ 7562056 h 3"/>
              <a:gd name="T32" fmla="*/ 0 w 2"/>
              <a:gd name="T33" fmla="*/ 7562056 h 3"/>
              <a:gd name="T34" fmla="*/ 0 w 2"/>
              <a:gd name="T35" fmla="*/ 7562056 h 3"/>
              <a:gd name="T36" fmla="*/ 0 w 2"/>
              <a:gd name="T37" fmla="*/ 7562056 h 3"/>
              <a:gd name="T38" fmla="*/ 0 w 2"/>
              <a:gd name="T39" fmla="*/ 7562056 h 3"/>
              <a:gd name="T40" fmla="*/ 0 w 2"/>
              <a:gd name="T41" fmla="*/ 7562056 h 3"/>
              <a:gd name="T42" fmla="*/ 0 w 2"/>
              <a:gd name="T43" fmla="*/ 7562056 h 3"/>
              <a:gd name="T44" fmla="*/ 0 w 2"/>
              <a:gd name="T45" fmla="*/ 7562056 h 3"/>
              <a:gd name="T46" fmla="*/ 0 w 2"/>
              <a:gd name="T47" fmla="*/ 7562056 h 3"/>
              <a:gd name="T48" fmla="*/ 0 w 2"/>
              <a:gd name="T49" fmla="*/ 7562056 h 3"/>
              <a:gd name="T50" fmla="*/ 0 w 2"/>
              <a:gd name="T51" fmla="*/ 7562056 h 3"/>
              <a:gd name="T52" fmla="*/ 0 w 2"/>
              <a:gd name="T53" fmla="*/ 756205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Freeform 1210"/>
          <p:cNvSpPr>
            <a:spLocks/>
          </p:cNvSpPr>
          <p:nvPr/>
        </p:nvSpPr>
        <p:spPr bwMode="auto">
          <a:xfrm>
            <a:off x="595313" y="557213"/>
            <a:ext cx="3175" cy="3175"/>
          </a:xfrm>
          <a:custGeom>
            <a:avLst/>
            <a:gdLst>
              <a:gd name="T0" fmla="*/ 0 w 2"/>
              <a:gd name="T1" fmla="*/ 5040313 h 2"/>
              <a:gd name="T2" fmla="*/ 0 w 2"/>
              <a:gd name="T3" fmla="*/ 5040313 h 2"/>
              <a:gd name="T4" fmla="*/ 5040313 w 2"/>
              <a:gd name="T5" fmla="*/ 5040313 h 2"/>
              <a:gd name="T6" fmla="*/ 5040313 w 2"/>
              <a:gd name="T7" fmla="*/ 0 h 2"/>
              <a:gd name="T8" fmla="*/ 5040313 w 2"/>
              <a:gd name="T9" fmla="*/ 0 h 2"/>
              <a:gd name="T10" fmla="*/ 0 w 2"/>
              <a:gd name="T11" fmla="*/ 0 h 2"/>
              <a:gd name="T12" fmla="*/ 0 w 2"/>
              <a:gd name="T13" fmla="*/ 0 h 2"/>
              <a:gd name="T14" fmla="*/ 0 w 2"/>
              <a:gd name="T15" fmla="*/ 0 h 2"/>
              <a:gd name="T16" fmla="*/ 0 w 2"/>
              <a:gd name="T17" fmla="*/ 5040313 h 2"/>
              <a:gd name="T18" fmla="*/ 0 w 2"/>
              <a:gd name="T19" fmla="*/ 5040313 h 2"/>
              <a:gd name="T20" fmla="*/ 5040313 w 2"/>
              <a:gd name="T21" fmla="*/ 5040313 h 2"/>
              <a:gd name="T22" fmla="*/ 5040313 w 2"/>
              <a:gd name="T23" fmla="*/ 0 h 2"/>
              <a:gd name="T24" fmla="*/ 5040313 w 2"/>
              <a:gd name="T25" fmla="*/ 0 h 2"/>
              <a:gd name="T26" fmla="*/ 0 w 2"/>
              <a:gd name="T27" fmla="*/ 0 h 2"/>
              <a:gd name="T28" fmla="*/ 0 w 2"/>
              <a:gd name="T29" fmla="*/ 0 h 2"/>
              <a:gd name="T30" fmla="*/ 0 w 2"/>
              <a:gd name="T31" fmla="*/ 0 h 2"/>
              <a:gd name="T32" fmla="*/ 0 w 2"/>
              <a:gd name="T33" fmla="*/ 5040313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Freeform 1214"/>
          <p:cNvSpPr>
            <a:spLocks/>
          </p:cNvSpPr>
          <p:nvPr/>
        </p:nvSpPr>
        <p:spPr bwMode="auto">
          <a:xfrm>
            <a:off x="595313" y="557213"/>
            <a:ext cx="3175" cy="3175"/>
          </a:xfrm>
          <a:custGeom>
            <a:avLst/>
            <a:gdLst>
              <a:gd name="T0" fmla="*/ 0 w 2"/>
              <a:gd name="T1" fmla="*/ 5040313 h 2"/>
              <a:gd name="T2" fmla="*/ 5040313 w 2"/>
              <a:gd name="T3" fmla="*/ 5040313 h 2"/>
              <a:gd name="T4" fmla="*/ 0 w 2"/>
              <a:gd name="T5" fmla="*/ 0 h 2"/>
              <a:gd name="T6" fmla="*/ 0 w 2"/>
              <a:gd name="T7" fmla="*/ 5040313 h 2"/>
              <a:gd name="T8" fmla="*/ 0 w 2"/>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1"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1221"/>
          <p:cNvSpPr>
            <a:spLocks/>
          </p:cNvSpPr>
          <p:nvPr/>
        </p:nvSpPr>
        <p:spPr bwMode="auto">
          <a:xfrm>
            <a:off x="731838" y="541338"/>
            <a:ext cx="3175" cy="3175"/>
          </a:xfrm>
          <a:custGeom>
            <a:avLst/>
            <a:gdLst>
              <a:gd name="T0" fmla="*/ 5040313 w 2"/>
              <a:gd name="T1" fmla="*/ 0 h 2"/>
              <a:gd name="T2" fmla="*/ 5040313 w 2"/>
              <a:gd name="T3" fmla="*/ 0 h 2"/>
              <a:gd name="T4" fmla="*/ 5040313 w 2"/>
              <a:gd name="T5" fmla="*/ 0 h 2"/>
              <a:gd name="T6" fmla="*/ 0 w 2"/>
              <a:gd name="T7" fmla="*/ 0 h 2"/>
              <a:gd name="T8" fmla="*/ 0 w 2"/>
              <a:gd name="T9" fmla="*/ 0 h 2"/>
              <a:gd name="T10" fmla="*/ 0 w 2"/>
              <a:gd name="T11" fmla="*/ 5040313 h 2"/>
              <a:gd name="T12" fmla="*/ 5040313 w 2"/>
              <a:gd name="T13" fmla="*/ 0 h 2"/>
              <a:gd name="T14" fmla="*/ 5040313 w 2"/>
              <a:gd name="T15" fmla="*/ 0 h 2"/>
              <a:gd name="T16" fmla="*/ 5040313 w 2"/>
              <a:gd name="T17" fmla="*/ 0 h 2"/>
              <a:gd name="T18" fmla="*/ 0 w 2"/>
              <a:gd name="T19" fmla="*/ 0 h 2"/>
              <a:gd name="T20" fmla="*/ 0 w 2"/>
              <a:gd name="T21" fmla="*/ 0 h 2"/>
              <a:gd name="T22" fmla="*/ 0 w 2"/>
              <a:gd name="T23" fmla="*/ 5040313 h 2"/>
              <a:gd name="T24" fmla="*/ 5040313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Freeform 1234"/>
          <p:cNvSpPr>
            <a:spLocks/>
          </p:cNvSpPr>
          <p:nvPr/>
        </p:nvSpPr>
        <p:spPr bwMode="auto">
          <a:xfrm>
            <a:off x="722313" y="550863"/>
            <a:ext cx="3175" cy="1587"/>
          </a:xfrm>
          <a:custGeom>
            <a:avLst/>
            <a:gdLst>
              <a:gd name="T0" fmla="*/ 0 w 2"/>
              <a:gd name="T1" fmla="*/ 0 h 1587"/>
              <a:gd name="T2" fmla="*/ 0 w 2"/>
              <a:gd name="T3" fmla="*/ 0 h 1587"/>
              <a:gd name="T4" fmla="*/ 5040313 w 2"/>
              <a:gd name="T5" fmla="*/ 0 h 1587"/>
              <a:gd name="T6" fmla="*/ 5040313 w 2"/>
              <a:gd name="T7" fmla="*/ 0 h 1587"/>
              <a:gd name="T8" fmla="*/ 5040313 w 2"/>
              <a:gd name="T9" fmla="*/ 0 h 1587"/>
              <a:gd name="T10" fmla="*/ 5040313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5040313 w 2"/>
              <a:gd name="T25" fmla="*/ 0 h 1587"/>
              <a:gd name="T26" fmla="*/ 5040313 w 2"/>
              <a:gd name="T27" fmla="*/ 0 h 1587"/>
              <a:gd name="T28" fmla="*/ 5040313 w 2"/>
              <a:gd name="T29" fmla="*/ 0 h 1587"/>
              <a:gd name="T30" fmla="*/ 0 w 2"/>
              <a:gd name="T31" fmla="*/ 0 h 1587"/>
              <a:gd name="T32" fmla="*/ 0 w 2"/>
              <a:gd name="T33" fmla="*/ 0 h 1587"/>
              <a:gd name="T34" fmla="*/ 5040313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40"/>
          <p:cNvSpPr>
            <a:spLocks/>
          </p:cNvSpPr>
          <p:nvPr/>
        </p:nvSpPr>
        <p:spPr bwMode="auto">
          <a:xfrm>
            <a:off x="728663" y="541338"/>
            <a:ext cx="1587" cy="3175"/>
          </a:xfrm>
          <a:custGeom>
            <a:avLst/>
            <a:gdLst>
              <a:gd name="T0" fmla="*/ 0 w 1587"/>
              <a:gd name="T1" fmla="*/ 5040313 h 2"/>
              <a:gd name="T2" fmla="*/ 0 w 1587"/>
              <a:gd name="T3" fmla="*/ 5040313 h 2"/>
              <a:gd name="T4" fmla="*/ 0 w 1587"/>
              <a:gd name="T5" fmla="*/ 0 h 2"/>
              <a:gd name="T6" fmla="*/ 0 w 1587"/>
              <a:gd name="T7" fmla="*/ 5040313 h 2"/>
              <a:gd name="T8" fmla="*/ 0 w 1587"/>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43"/>
          <p:cNvSpPr>
            <a:spLocks/>
          </p:cNvSpPr>
          <p:nvPr/>
        </p:nvSpPr>
        <p:spPr bwMode="auto">
          <a:xfrm>
            <a:off x="728663" y="538163"/>
            <a:ext cx="3175" cy="3175"/>
          </a:xfrm>
          <a:custGeom>
            <a:avLst/>
            <a:gdLst>
              <a:gd name="T0" fmla="*/ 5040313 w 2"/>
              <a:gd name="T1" fmla="*/ 5040313 h 2"/>
              <a:gd name="T2" fmla="*/ 5040313 w 2"/>
              <a:gd name="T3" fmla="*/ 5040313 h 2"/>
              <a:gd name="T4" fmla="*/ 5040313 w 2"/>
              <a:gd name="T5" fmla="*/ 5040313 h 2"/>
              <a:gd name="T6" fmla="*/ 5040313 w 2"/>
              <a:gd name="T7" fmla="*/ 5040313 h 2"/>
              <a:gd name="T8" fmla="*/ 0 w 2"/>
              <a:gd name="T9" fmla="*/ 5040313 h 2"/>
              <a:gd name="T10" fmla="*/ 0 w 2"/>
              <a:gd name="T11" fmla="*/ 5040313 h 2"/>
              <a:gd name="T12" fmla="*/ 5040313 w 2"/>
              <a:gd name="T13" fmla="*/ 5040313 h 2"/>
              <a:gd name="T14" fmla="*/ 0 w 2"/>
              <a:gd name="T15" fmla="*/ 5040313 h 2"/>
              <a:gd name="T16" fmla="*/ 0 w 2"/>
              <a:gd name="T17" fmla="*/ 5040313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0 w 2"/>
              <a:gd name="T29" fmla="*/ 5040313 h 2"/>
              <a:gd name="T30" fmla="*/ 0 w 2"/>
              <a:gd name="T31" fmla="*/ 5040313 h 2"/>
              <a:gd name="T32" fmla="*/ 0 w 2"/>
              <a:gd name="T33" fmla="*/ 5040313 h 2"/>
              <a:gd name="T34" fmla="*/ 0 w 2"/>
              <a:gd name="T35" fmla="*/ 5040313 h 2"/>
              <a:gd name="T36" fmla="*/ 0 w 2"/>
              <a:gd name="T37" fmla="*/ 5040313 h 2"/>
              <a:gd name="T38" fmla="*/ 5040313 w 2"/>
              <a:gd name="T39" fmla="*/ 5040313 h 2"/>
              <a:gd name="T40" fmla="*/ 5040313 w 2"/>
              <a:gd name="T41" fmla="*/ 5040313 h 2"/>
              <a:gd name="T42" fmla="*/ 5040313 w 2"/>
              <a:gd name="T43" fmla="*/ 5040313 h 2"/>
              <a:gd name="T44" fmla="*/ 5040313 w 2"/>
              <a:gd name="T45" fmla="*/ 5040313 h 2"/>
              <a:gd name="T46" fmla="*/ 5040313 w 2"/>
              <a:gd name="T47" fmla="*/ 5040313 h 2"/>
              <a:gd name="T48" fmla="*/ 0 w 2"/>
              <a:gd name="T49" fmla="*/ 0 h 2"/>
              <a:gd name="T50" fmla="*/ 0 w 2"/>
              <a:gd name="T51" fmla="*/ 5040313 h 2"/>
              <a:gd name="T52" fmla="*/ 0 w 2"/>
              <a:gd name="T53" fmla="*/ 5040313 h 2"/>
              <a:gd name="T54" fmla="*/ 0 w 2"/>
              <a:gd name="T55" fmla="*/ 5040313 h 2"/>
              <a:gd name="T56" fmla="*/ 5040313 w 2"/>
              <a:gd name="T57" fmla="*/ 5040313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46"/>
          <p:cNvSpPr>
            <a:spLocks/>
          </p:cNvSpPr>
          <p:nvPr/>
        </p:nvSpPr>
        <p:spPr bwMode="auto">
          <a:xfrm>
            <a:off x="725488" y="547688"/>
            <a:ext cx="3175" cy="3175"/>
          </a:xfrm>
          <a:custGeom>
            <a:avLst/>
            <a:gdLst>
              <a:gd name="T0" fmla="*/ 0 w 2"/>
              <a:gd name="T1" fmla="*/ 5040313 h 2"/>
              <a:gd name="T2" fmla="*/ 0 w 2"/>
              <a:gd name="T3" fmla="*/ 5040313 h 2"/>
              <a:gd name="T4" fmla="*/ 5040313 w 2"/>
              <a:gd name="T5" fmla="*/ 0 h 2"/>
              <a:gd name="T6" fmla="*/ 5040313 w 2"/>
              <a:gd name="T7" fmla="*/ 0 h 2"/>
              <a:gd name="T8" fmla="*/ 0 w 2"/>
              <a:gd name="T9" fmla="*/ 0 h 2"/>
              <a:gd name="T10" fmla="*/ 0 w 2"/>
              <a:gd name="T11" fmla="*/ 0 h 2"/>
              <a:gd name="T12" fmla="*/ 0 w 2"/>
              <a:gd name="T13" fmla="*/ 5040313 h 2"/>
              <a:gd name="T14" fmla="*/ 0 w 2"/>
              <a:gd name="T15" fmla="*/ 5040313 h 2"/>
              <a:gd name="T16" fmla="*/ 5040313 w 2"/>
              <a:gd name="T17" fmla="*/ 0 h 2"/>
              <a:gd name="T18" fmla="*/ 5040313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5040313 h 2"/>
              <a:gd name="T48" fmla="*/ 0 w 2"/>
              <a:gd name="T49" fmla="*/ 5040313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50"/>
          <p:cNvSpPr>
            <a:spLocks/>
          </p:cNvSpPr>
          <p:nvPr/>
        </p:nvSpPr>
        <p:spPr bwMode="auto">
          <a:xfrm>
            <a:off x="731838" y="530225"/>
            <a:ext cx="3175" cy="1588"/>
          </a:xfrm>
          <a:custGeom>
            <a:avLst/>
            <a:gdLst>
              <a:gd name="T0" fmla="*/ 5040313 w 2"/>
              <a:gd name="T1" fmla="*/ 0 h 1588"/>
              <a:gd name="T2" fmla="*/ 0 w 2"/>
              <a:gd name="T3" fmla="*/ 0 h 1588"/>
              <a:gd name="T4" fmla="*/ 5040313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1252"/>
          <p:cNvSpPr>
            <a:spLocks/>
          </p:cNvSpPr>
          <p:nvPr/>
        </p:nvSpPr>
        <p:spPr bwMode="auto">
          <a:xfrm>
            <a:off x="731838" y="527050"/>
            <a:ext cx="3175" cy="7938"/>
          </a:xfrm>
          <a:custGeom>
            <a:avLst/>
            <a:gdLst>
              <a:gd name="T0" fmla="*/ 5040313 w 2"/>
              <a:gd name="T1" fmla="*/ 5040630 h 5"/>
              <a:gd name="T2" fmla="*/ 5040313 w 2"/>
              <a:gd name="T3" fmla="*/ 5040630 h 5"/>
              <a:gd name="T4" fmla="*/ 0 w 2"/>
              <a:gd name="T5" fmla="*/ 0 h 5"/>
              <a:gd name="T6" fmla="*/ 0 w 2"/>
              <a:gd name="T7" fmla="*/ 5040630 h 5"/>
              <a:gd name="T8" fmla="*/ 0 w 2"/>
              <a:gd name="T9" fmla="*/ 5040630 h 5"/>
              <a:gd name="T10" fmla="*/ 5040313 w 2"/>
              <a:gd name="T11" fmla="*/ 12602369 h 5"/>
              <a:gd name="T12" fmla="*/ 5040313 w 2"/>
              <a:gd name="T13" fmla="*/ 5040630 h 5"/>
              <a:gd name="T14" fmla="*/ 5040313 w 2"/>
              <a:gd name="T15" fmla="*/ 5040630 h 5"/>
              <a:gd name="T16" fmla="*/ 0 w 2"/>
              <a:gd name="T17" fmla="*/ 0 h 5"/>
              <a:gd name="T18" fmla="*/ 0 w 2"/>
              <a:gd name="T19" fmla="*/ 5040630 h 5"/>
              <a:gd name="T20" fmla="*/ 0 w 2"/>
              <a:gd name="T21" fmla="*/ 5040630 h 5"/>
              <a:gd name="T22" fmla="*/ 5040313 w 2"/>
              <a:gd name="T23" fmla="*/ 12602369 h 5"/>
              <a:gd name="T24" fmla="*/ 5040313 w 2"/>
              <a:gd name="T25" fmla="*/ 504063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1255"/>
          <p:cNvSpPr>
            <a:spLocks/>
          </p:cNvSpPr>
          <p:nvPr/>
        </p:nvSpPr>
        <p:spPr bwMode="auto">
          <a:xfrm>
            <a:off x="712788" y="550863"/>
            <a:ext cx="3175" cy="1587"/>
          </a:xfrm>
          <a:custGeom>
            <a:avLst/>
            <a:gdLst>
              <a:gd name="T0" fmla="*/ 0 w 2"/>
              <a:gd name="T1" fmla="*/ 0 h 1587"/>
              <a:gd name="T2" fmla="*/ 5040313 w 2"/>
              <a:gd name="T3" fmla="*/ 0 h 1587"/>
              <a:gd name="T4" fmla="*/ 5040313 w 2"/>
              <a:gd name="T5" fmla="*/ 0 h 1587"/>
              <a:gd name="T6" fmla="*/ 5040313 w 2"/>
              <a:gd name="T7" fmla="*/ 0 h 1587"/>
              <a:gd name="T8" fmla="*/ 5040313 w 2"/>
              <a:gd name="T9" fmla="*/ 0 h 1587"/>
              <a:gd name="T10" fmla="*/ 0 w 2"/>
              <a:gd name="T11" fmla="*/ 0 h 1587"/>
              <a:gd name="T12" fmla="*/ 0 w 2"/>
              <a:gd name="T13" fmla="*/ 0 h 1587"/>
              <a:gd name="T14" fmla="*/ 0 w 2"/>
              <a:gd name="T15" fmla="*/ 0 h 1587"/>
              <a:gd name="T16" fmla="*/ 0 w 2"/>
              <a:gd name="T17" fmla="*/ 0 h 1587"/>
              <a:gd name="T18" fmla="*/ 5040313 w 2"/>
              <a:gd name="T19" fmla="*/ 0 h 1587"/>
              <a:gd name="T20" fmla="*/ 5040313 w 2"/>
              <a:gd name="T21" fmla="*/ 0 h 1587"/>
              <a:gd name="T22" fmla="*/ 5040313 w 2"/>
              <a:gd name="T23" fmla="*/ 0 h 1587"/>
              <a:gd name="T24" fmla="*/ 5040313 w 2"/>
              <a:gd name="T25" fmla="*/ 0 h 1587"/>
              <a:gd name="T26" fmla="*/ 5040313 w 2"/>
              <a:gd name="T27" fmla="*/ 0 h 1587"/>
              <a:gd name="T28" fmla="*/ 5040313 w 2"/>
              <a:gd name="T29" fmla="*/ 0 h 1587"/>
              <a:gd name="T30" fmla="*/ 5040313 w 2"/>
              <a:gd name="T31" fmla="*/ 0 h 1587"/>
              <a:gd name="T32" fmla="*/ 5040313 w 2"/>
              <a:gd name="T33" fmla="*/ 0 h 1587"/>
              <a:gd name="T34" fmla="*/ 5040313 w 2"/>
              <a:gd name="T35" fmla="*/ 0 h 1587"/>
              <a:gd name="T36" fmla="*/ 5040313 w 2"/>
              <a:gd name="T37" fmla="*/ 0 h 1587"/>
              <a:gd name="T38" fmla="*/ 5040313 w 2"/>
              <a:gd name="T39" fmla="*/ 0 h 1587"/>
              <a:gd name="T40" fmla="*/ 5040313 w 2"/>
              <a:gd name="T41" fmla="*/ 0 h 1587"/>
              <a:gd name="T42" fmla="*/ 5040313 w 2"/>
              <a:gd name="T43" fmla="*/ 0 h 1587"/>
              <a:gd name="T44" fmla="*/ 5040313 w 2"/>
              <a:gd name="T45" fmla="*/ 0 h 1587"/>
              <a:gd name="T46" fmla="*/ 5040313 w 2"/>
              <a:gd name="T47" fmla="*/ 0 h 1587"/>
              <a:gd name="T48" fmla="*/ 5040313 w 2"/>
              <a:gd name="T49" fmla="*/ 0 h 1587"/>
              <a:gd name="T50" fmla="*/ 5040313 w 2"/>
              <a:gd name="T51" fmla="*/ 0 h 1587"/>
              <a:gd name="T52" fmla="*/ 5040313 w 2"/>
              <a:gd name="T53" fmla="*/ 0 h 1587"/>
              <a:gd name="T54" fmla="*/ 5040313 w 2"/>
              <a:gd name="T55" fmla="*/ 0 h 1587"/>
              <a:gd name="T56" fmla="*/ 5040313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4"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1269"/>
          <p:cNvSpPr>
            <a:spLocks/>
          </p:cNvSpPr>
          <p:nvPr/>
        </p:nvSpPr>
        <p:spPr bwMode="auto">
          <a:xfrm>
            <a:off x="728663" y="530225"/>
            <a:ext cx="3175" cy="4763"/>
          </a:xfrm>
          <a:custGeom>
            <a:avLst/>
            <a:gdLst>
              <a:gd name="T0" fmla="*/ 0 w 2"/>
              <a:gd name="T1" fmla="*/ 7562056 h 3"/>
              <a:gd name="T2" fmla="*/ 5040313 w 2"/>
              <a:gd name="T3" fmla="*/ 0 h 3"/>
              <a:gd name="T4" fmla="*/ 5040313 w 2"/>
              <a:gd name="T5" fmla="*/ 0 h 3"/>
              <a:gd name="T6" fmla="*/ 5040313 w 2"/>
              <a:gd name="T7" fmla="*/ 0 h 3"/>
              <a:gd name="T8" fmla="*/ 5040313 w 2"/>
              <a:gd name="T9" fmla="*/ 0 h 3"/>
              <a:gd name="T10" fmla="*/ 0 w 2"/>
              <a:gd name="T11" fmla="*/ 0 h 3"/>
              <a:gd name="T12" fmla="*/ 0 w 2"/>
              <a:gd name="T13" fmla="*/ 0 h 3"/>
              <a:gd name="T14" fmla="*/ 0 w 2"/>
              <a:gd name="T15" fmla="*/ 7562056 h 3"/>
              <a:gd name="T16" fmla="*/ 0 w 2"/>
              <a:gd name="T17" fmla="*/ 7562056 h 3"/>
              <a:gd name="T18" fmla="*/ 5040313 w 2"/>
              <a:gd name="T19" fmla="*/ 0 h 3"/>
              <a:gd name="T20" fmla="*/ 5040313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7562056 h 3"/>
              <a:gd name="T40" fmla="*/ 0 w 2"/>
              <a:gd name="T41" fmla="*/ 756205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0"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1"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1277"/>
          <p:cNvSpPr>
            <a:spLocks/>
          </p:cNvSpPr>
          <p:nvPr/>
        </p:nvSpPr>
        <p:spPr bwMode="auto">
          <a:xfrm>
            <a:off x="728663" y="523875"/>
            <a:ext cx="1587" cy="3175"/>
          </a:xfrm>
          <a:custGeom>
            <a:avLst/>
            <a:gdLst>
              <a:gd name="T0" fmla="*/ 0 w 1587"/>
              <a:gd name="T1" fmla="*/ 5040313 h 2"/>
              <a:gd name="T2" fmla="*/ 0 w 1587"/>
              <a:gd name="T3" fmla="*/ 5040313 h 2"/>
              <a:gd name="T4" fmla="*/ 0 w 1587"/>
              <a:gd name="T5" fmla="*/ 0 h 2"/>
              <a:gd name="T6" fmla="*/ 0 w 1587"/>
              <a:gd name="T7" fmla="*/ 5040313 h 2"/>
              <a:gd name="T8" fmla="*/ 0 w 1587"/>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Freeform 1287"/>
          <p:cNvSpPr>
            <a:spLocks/>
          </p:cNvSpPr>
          <p:nvPr/>
        </p:nvSpPr>
        <p:spPr bwMode="auto">
          <a:xfrm>
            <a:off x="719138" y="514350"/>
            <a:ext cx="3175" cy="3175"/>
          </a:xfrm>
          <a:custGeom>
            <a:avLst/>
            <a:gdLst>
              <a:gd name="T0" fmla="*/ 0 w 2"/>
              <a:gd name="T1" fmla="*/ 0 h 2"/>
              <a:gd name="T2" fmla="*/ 0 w 2"/>
              <a:gd name="T3" fmla="*/ 5040313 h 2"/>
              <a:gd name="T4" fmla="*/ 5040313 w 2"/>
              <a:gd name="T5" fmla="*/ 5040313 h 2"/>
              <a:gd name="T6" fmla="*/ 5040313 w 2"/>
              <a:gd name="T7" fmla="*/ 5040313 h 2"/>
              <a:gd name="T8" fmla="*/ 5040313 w 2"/>
              <a:gd name="T9" fmla="*/ 5040313 h 2"/>
              <a:gd name="T10" fmla="*/ 5040313 w 2"/>
              <a:gd name="T11" fmla="*/ 0 h 2"/>
              <a:gd name="T12" fmla="*/ 0 w 2"/>
              <a:gd name="T13" fmla="*/ 0 h 2"/>
              <a:gd name="T14" fmla="*/ 0 w 2"/>
              <a:gd name="T15" fmla="*/ 0 h 2"/>
              <a:gd name="T16" fmla="*/ 0 w 2"/>
              <a:gd name="T17" fmla="*/ 5040313 h 2"/>
              <a:gd name="T18" fmla="*/ 0 w 2"/>
              <a:gd name="T19" fmla="*/ 5040313 h 2"/>
              <a:gd name="T20" fmla="*/ 0 w 2"/>
              <a:gd name="T21" fmla="*/ 5040313 h 2"/>
              <a:gd name="T22" fmla="*/ 0 w 2"/>
              <a:gd name="T23" fmla="*/ 5040313 h 2"/>
              <a:gd name="T24" fmla="*/ 5040313 w 2"/>
              <a:gd name="T25" fmla="*/ 5040313 h 2"/>
              <a:gd name="T26" fmla="*/ 5040313 w 2"/>
              <a:gd name="T27" fmla="*/ 5040313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Freeform 1290"/>
          <p:cNvSpPr>
            <a:spLocks/>
          </p:cNvSpPr>
          <p:nvPr/>
        </p:nvSpPr>
        <p:spPr bwMode="auto">
          <a:xfrm>
            <a:off x="719138" y="517525"/>
            <a:ext cx="3175" cy="3175"/>
          </a:xfrm>
          <a:custGeom>
            <a:avLst/>
            <a:gdLst>
              <a:gd name="T0" fmla="*/ 0 w 2"/>
              <a:gd name="T1" fmla="*/ 5040313 h 2"/>
              <a:gd name="T2" fmla="*/ 0 w 2"/>
              <a:gd name="T3" fmla="*/ 5040313 h 2"/>
              <a:gd name="T4" fmla="*/ 5040313 w 2"/>
              <a:gd name="T5" fmla="*/ 5040313 h 2"/>
              <a:gd name="T6" fmla="*/ 5040313 w 2"/>
              <a:gd name="T7" fmla="*/ 5040313 h 2"/>
              <a:gd name="T8" fmla="*/ 5040313 w 2"/>
              <a:gd name="T9" fmla="*/ 5040313 h 2"/>
              <a:gd name="T10" fmla="*/ 5040313 w 2"/>
              <a:gd name="T11" fmla="*/ 0 h 2"/>
              <a:gd name="T12" fmla="*/ 0 w 2"/>
              <a:gd name="T13" fmla="*/ 0 h 2"/>
              <a:gd name="T14" fmla="*/ 0 w 2"/>
              <a:gd name="T15" fmla="*/ 0 h 2"/>
              <a:gd name="T16" fmla="*/ 0 w 2"/>
              <a:gd name="T17" fmla="*/ 0 h 2"/>
              <a:gd name="T18" fmla="*/ 0 w 2"/>
              <a:gd name="T19" fmla="*/ 0 h 2"/>
              <a:gd name="T20" fmla="*/ 5040313 w 2"/>
              <a:gd name="T21" fmla="*/ 0 h 2"/>
              <a:gd name="T22" fmla="*/ 0 w 2"/>
              <a:gd name="T23" fmla="*/ 0 h 2"/>
              <a:gd name="T24" fmla="*/ 0 w 2"/>
              <a:gd name="T25" fmla="*/ 0 h 2"/>
              <a:gd name="T26" fmla="*/ 0 w 2"/>
              <a:gd name="T27" fmla="*/ 0 h 2"/>
              <a:gd name="T28" fmla="*/ 0 w 2"/>
              <a:gd name="T29" fmla="*/ 0 h 2"/>
              <a:gd name="T30" fmla="*/ 0 w 2"/>
              <a:gd name="T31" fmla="*/ 5040313 h 2"/>
              <a:gd name="T32" fmla="*/ 0 w 2"/>
              <a:gd name="T33" fmla="*/ 5040313 h 2"/>
              <a:gd name="T34" fmla="*/ 0 w 2"/>
              <a:gd name="T35" fmla="*/ 5040313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5040313 h 2"/>
              <a:gd name="T50" fmla="*/ 5040313 w 2"/>
              <a:gd name="T51" fmla="*/ 5040313 h 2"/>
              <a:gd name="T52" fmla="*/ 5040313 w 2"/>
              <a:gd name="T53" fmla="*/ 0 h 2"/>
              <a:gd name="T54" fmla="*/ 5040313 w 2"/>
              <a:gd name="T55" fmla="*/ 0 h 2"/>
              <a:gd name="T56" fmla="*/ 0 w 2"/>
              <a:gd name="T57" fmla="*/ 0 h 2"/>
              <a:gd name="T58" fmla="*/ 0 w 2"/>
              <a:gd name="T59" fmla="*/ 0 h 2"/>
              <a:gd name="T60" fmla="*/ 0 w 2"/>
              <a:gd name="T61" fmla="*/ 5040313 h 2"/>
              <a:gd name="T62" fmla="*/ 0 w 2"/>
              <a:gd name="T63" fmla="*/ 5040313 h 2"/>
              <a:gd name="T64" fmla="*/ 5040313 w 2"/>
              <a:gd name="T65" fmla="*/ 5040313 h 2"/>
              <a:gd name="T66" fmla="*/ 5040313 w 2"/>
              <a:gd name="T67" fmla="*/ 5040313 h 2"/>
              <a:gd name="T68" fmla="*/ 0 w 2"/>
              <a:gd name="T69" fmla="*/ 5040313 h 2"/>
              <a:gd name="T70" fmla="*/ 0 w 2"/>
              <a:gd name="T71" fmla="*/ 5040313 h 2"/>
              <a:gd name="T72" fmla="*/ 0 w 2"/>
              <a:gd name="T73" fmla="*/ 5040313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7"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63"/>
          <p:cNvSpPr>
            <a:spLocks noChangeArrowheads="1"/>
          </p:cNvSpPr>
          <p:nvPr/>
        </p:nvSpPr>
        <p:spPr bwMode="auto">
          <a:xfrm>
            <a:off x="0" y="4302125"/>
            <a:ext cx="9144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pic>
        <p:nvPicPr>
          <p:cNvPr id="6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1475" y="4916488"/>
            <a:ext cx="4141788" cy="82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6" name="Group 65"/>
          <p:cNvGrpSpPr>
            <a:grpSpLocks/>
          </p:cNvGrpSpPr>
          <p:nvPr userDrawn="1"/>
        </p:nvGrpSpPr>
        <p:grpSpPr bwMode="auto">
          <a:xfrm>
            <a:off x="371475" y="6269038"/>
            <a:ext cx="8224838" cy="260350"/>
            <a:chOff x="202219" y="1895846"/>
            <a:chExt cx="8223381" cy="261239"/>
          </a:xfrm>
        </p:grpSpPr>
        <p:sp>
          <p:nvSpPr>
            <p:cNvPr id="67" name="TextBox 66"/>
            <p:cNvSpPr txBox="1">
              <a:spLocks noChangeArrowheads="1"/>
            </p:cNvSpPr>
            <p:nvPr userDrawn="1"/>
          </p:nvSpPr>
          <p:spPr bwMode="auto">
            <a:xfrm>
              <a:off x="202219" y="1895846"/>
              <a:ext cx="8223381" cy="215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eaLnBrk="0" hangingPunct="0">
                <a:defRPr sz="1600" b="1">
                  <a:solidFill>
                    <a:schemeClr val="tx1"/>
                  </a:solidFill>
                  <a:latin typeface="Trebuchet MS" pitchFamily="34" charset="0"/>
                  <a:ea typeface="MS PGothic" pitchFamily="34" charset="-128"/>
                </a:defRPr>
              </a:lvl1pPr>
              <a:lvl2pPr marL="742950" indent="-285750" defTabSz="457200" eaLnBrk="0" hangingPunct="0">
                <a:defRPr sz="1600" b="1">
                  <a:solidFill>
                    <a:schemeClr val="tx1"/>
                  </a:solidFill>
                  <a:latin typeface="Trebuchet MS" pitchFamily="34" charset="0"/>
                  <a:ea typeface="MS PGothic" pitchFamily="34" charset="-128"/>
                </a:defRPr>
              </a:lvl2pPr>
              <a:lvl3pPr marL="1143000" indent="-228600" defTabSz="457200" eaLnBrk="0" hangingPunct="0">
                <a:defRPr sz="1600" b="1">
                  <a:solidFill>
                    <a:schemeClr val="tx1"/>
                  </a:solidFill>
                  <a:latin typeface="Trebuchet MS" pitchFamily="34" charset="0"/>
                  <a:ea typeface="MS PGothic" pitchFamily="34" charset="-128"/>
                </a:defRPr>
              </a:lvl3pPr>
              <a:lvl4pPr marL="1600200" indent="-228600" defTabSz="457200" eaLnBrk="0" hangingPunct="0">
                <a:defRPr sz="1600" b="1">
                  <a:solidFill>
                    <a:schemeClr val="tx1"/>
                  </a:solidFill>
                  <a:latin typeface="Trebuchet MS" pitchFamily="34" charset="0"/>
                  <a:ea typeface="MS PGothic" pitchFamily="34" charset="-128"/>
                </a:defRPr>
              </a:lvl4pPr>
              <a:lvl5pPr marL="2057400" indent="-228600" defTabSz="457200" eaLnBrk="0" hangingPunct="0">
                <a:defRPr sz="1600" b="1">
                  <a:solidFill>
                    <a:schemeClr val="tx1"/>
                  </a:solidFill>
                  <a:latin typeface="Trebuchet MS" pitchFamily="34" charset="0"/>
                  <a:ea typeface="MS PGothic" pitchFamily="34" charset="-128"/>
                </a:defRPr>
              </a:lvl5pPr>
              <a:lvl6pPr marL="25146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ts val="200"/>
                </a:spcBef>
                <a:defRPr/>
              </a:pPr>
              <a:r>
                <a:rPr lang="en-US" altLang="en-US" sz="1400" b="0" dirty="0">
                  <a:latin typeface="+mn-lt"/>
                </a:rPr>
                <a:t>www.worldbank.org/water  |  www.blogs.worldbank.org/water   |        @</a:t>
              </a:r>
              <a:r>
                <a:rPr lang="en-US" altLang="en-US" sz="1400" b="0" dirty="0" err="1">
                  <a:latin typeface="+mn-lt"/>
                </a:rPr>
                <a:t>WorldBankWater</a:t>
              </a:r>
              <a:endParaRPr lang="en-US" altLang="en-US" sz="1400" b="0" dirty="0">
                <a:latin typeface="+mn-lt"/>
              </a:endParaRPr>
            </a:p>
          </p:txBody>
        </p:sp>
        <p:pic>
          <p:nvPicPr>
            <p:cNvPr id="68" name="Picture 5" descr="http://www.clipartbest.com/cliparts/ace/KAn/aceKAnqBi.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282238" y="1919341"/>
              <a:ext cx="237744" cy="237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1" name="Title 329"/>
          <p:cNvSpPr>
            <a:spLocks noGrp="1"/>
          </p:cNvSpPr>
          <p:nvPr>
            <p:ph type="title"/>
          </p:nvPr>
        </p:nvSpPr>
        <p:spPr>
          <a:xfrm>
            <a:off x="1280160" y="1311122"/>
            <a:ext cx="6971806" cy="1107996"/>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72" name="Text Placeholder 331"/>
          <p:cNvSpPr>
            <a:spLocks noGrp="1"/>
          </p:cNvSpPr>
          <p:nvPr>
            <p:ph type="body" sz="quarter" idx="13"/>
          </p:nvPr>
        </p:nvSpPr>
        <p:spPr>
          <a:xfrm>
            <a:off x="1275797" y="2437317"/>
            <a:ext cx="6959257" cy="875885"/>
          </a:xfrm>
          <a:prstGeom prst="rect">
            <a:avLst/>
          </a:prstGeom>
        </p:spPr>
        <p:txBody>
          <a:bodyPr lIns="0" tIns="0" rIns="0" bIns="0">
            <a:normAutofit/>
          </a:bodyPr>
          <a:lstStyle>
            <a:lvl1pPr>
              <a:lnSpc>
                <a:spcPct val="100000"/>
              </a:lnSpc>
              <a:spcBef>
                <a:spcPts val="0"/>
              </a:spcBef>
              <a:defRPr sz="2400" b="0" i="0" cap="none"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75" name="Text Placeholder 331"/>
          <p:cNvSpPr>
            <a:spLocks noGrp="1"/>
          </p:cNvSpPr>
          <p:nvPr>
            <p:ph type="body" sz="quarter" idx="15"/>
          </p:nvPr>
        </p:nvSpPr>
        <p:spPr>
          <a:xfrm>
            <a:off x="1275797" y="3717890"/>
            <a:ext cx="5606270" cy="593759"/>
          </a:xfrm>
          <a:prstGeom prst="rect">
            <a:avLst/>
          </a:prstGeom>
        </p:spPr>
        <p:txBody>
          <a:bodyPr lIns="0" tIns="0" rIns="0" bIns="0" anchor="t"/>
          <a:lstStyle>
            <a:lvl1pPr algn="l">
              <a:lnSpc>
                <a:spcPct val="100000"/>
              </a:lnSpc>
              <a:spcBef>
                <a:spcPts val="0"/>
              </a:spcBef>
              <a:defRPr sz="1500" b="0" i="0" baseline="0">
                <a:solidFill>
                  <a:schemeClr val="bg1"/>
                </a:solidFill>
                <a:latin typeface="Arial"/>
                <a:cs typeface="Arial"/>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Tree>
    <p:extLst>
      <p:ext uri="{BB962C8B-B14F-4D97-AF65-F5344CB8AC3E}">
        <p14:creationId xmlns:p14="http://schemas.microsoft.com/office/powerpoint/2010/main" val="693459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cSld name="Two Content Slide with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a:prstGeom prst="rect">
            <a:avLst/>
          </a:prstGeo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a:prstGeom prst="rect">
            <a:avLst/>
          </a:prstGeo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13"/>
          <p:cNvSpPr>
            <a:spLocks noGrp="1"/>
          </p:cNvSpPr>
          <p:nvPr>
            <p:ph type="sldNum" sz="quarter" idx="10"/>
          </p:nvPr>
        </p:nvSpPr>
        <p:spPr>
          <a:xfrm>
            <a:off x="228600" y="6297613"/>
            <a:ext cx="481013" cy="365125"/>
          </a:xfrm>
        </p:spPr>
        <p:txBody>
          <a:bodyPr lIns="91440" tIns="45720" rIns="91440" bIns="45720" rtlCol="0" anchor="ctr"/>
          <a:lstStyle>
            <a:lvl1pPr algn="r">
              <a:defRPr sz="1000" smtClean="0">
                <a:solidFill>
                  <a:schemeClr val="tx2">
                    <a:lumMod val="65000"/>
                    <a:lumOff val="35000"/>
                  </a:schemeClr>
                </a:solidFill>
                <a:latin typeface="+mj-lt"/>
              </a:defRPr>
            </a:lvl1pPr>
          </a:lstStyle>
          <a:p>
            <a:pPr>
              <a:defRPr/>
            </a:pPr>
            <a:fld id="{A99D2F37-04E7-4618-BA0A-09C65F9A5BE2}" type="slidenum">
              <a:rPr lang="en-US"/>
              <a:pPr>
                <a:defRPr/>
              </a:pPr>
              <a:t>‹#›</a:t>
            </a:fld>
            <a:endParaRPr lang="en-US" dirty="0"/>
          </a:p>
        </p:txBody>
      </p:sp>
    </p:spTree>
    <p:extLst>
      <p:ext uri="{BB962C8B-B14F-4D97-AF65-F5344CB8AC3E}">
        <p14:creationId xmlns:p14="http://schemas.microsoft.com/office/powerpoint/2010/main" val="30911038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2" name="Title 1"/>
          <p:cNvSpPr>
            <a:spLocks noGrp="1"/>
          </p:cNvSpPr>
          <p:nvPr>
            <p:ph type="title"/>
          </p:nvPr>
        </p:nvSpPr>
        <p:spPr>
          <a:xfrm>
            <a:off x="457200" y="261938"/>
            <a:ext cx="8229600" cy="709612"/>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1"/>
          </p:nvPr>
        </p:nvSpPr>
        <p:spPr>
          <a:xfrm>
            <a:off x="457201" y="1466850"/>
            <a:ext cx="8229600" cy="4592638"/>
          </a:xfrm>
        </p:spPr>
        <p:txBody>
          <a:bodyPr/>
          <a:lstStyle>
            <a:lvl1pPr marL="457200" marR="0"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lvl1pPr>
            <a:lvl2pPr>
              <a:defRPr>
                <a:solidFill>
                  <a:schemeClr val="bg2"/>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13"/>
          <p:cNvSpPr>
            <a:spLocks noGrp="1"/>
          </p:cNvSpPr>
          <p:nvPr>
            <p:ph type="sldNum" sz="quarter" idx="12"/>
          </p:nvPr>
        </p:nvSpPr>
        <p:spPr/>
        <p:txBody>
          <a:bodyPr/>
          <a:lstStyle>
            <a:lvl1pPr>
              <a:defRPr/>
            </a:lvl1pPr>
          </a:lstStyle>
          <a:p>
            <a:pPr>
              <a:defRPr/>
            </a:pPr>
            <a:fld id="{BABDA2C9-8AAE-48C1-9A9C-504D4F21DCD1}" type="slidenum">
              <a:rPr lang="en-US"/>
              <a:pPr>
                <a:defRPr/>
              </a:pPr>
              <a:t>‹#›</a:t>
            </a:fld>
            <a:endParaRPr lang="en-US" dirty="0"/>
          </a:p>
        </p:txBody>
      </p:sp>
    </p:spTree>
    <p:extLst>
      <p:ext uri="{BB962C8B-B14F-4D97-AF65-F5344CB8AC3E}">
        <p14:creationId xmlns:p14="http://schemas.microsoft.com/office/powerpoint/2010/main" val="39990080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10" name="Content Placeholder 9"/>
          <p:cNvSpPr>
            <a:spLocks noGrp="1"/>
          </p:cNvSpPr>
          <p:nvPr>
            <p:ph sz="quarter" idx="12"/>
          </p:nvPr>
        </p:nvSpPr>
        <p:spPr>
          <a:xfrm>
            <a:off x="457200" y="1448563"/>
            <a:ext cx="8229600" cy="4560887"/>
          </a:xfrm>
        </p:spPr>
        <p:txBody>
          <a:bodyPr/>
          <a:lstStyle>
            <a:lvl1pPr marL="0" indent="0">
              <a:buNone/>
              <a:defRPr baseline="0"/>
            </a:lvl1pPr>
          </a:lstStyle>
          <a:p>
            <a:pPr lvl="0"/>
            <a:r>
              <a:rPr lang="en-US"/>
              <a:t>Click to edit Master text styles</a:t>
            </a:r>
          </a:p>
        </p:txBody>
      </p:sp>
      <p:sp>
        <p:nvSpPr>
          <p:cNvPr id="4" name="Slide Number Placeholder 13"/>
          <p:cNvSpPr>
            <a:spLocks noGrp="1"/>
          </p:cNvSpPr>
          <p:nvPr>
            <p:ph type="sldNum" sz="quarter" idx="13"/>
          </p:nvPr>
        </p:nvSpPr>
        <p:spPr/>
        <p:txBody>
          <a:bodyPr/>
          <a:lstStyle>
            <a:lvl1pPr>
              <a:defRPr/>
            </a:lvl1pPr>
          </a:lstStyle>
          <a:p>
            <a:pPr>
              <a:defRPr/>
            </a:pPr>
            <a:fld id="{CED1F815-D633-493B-9D9F-09FEFB34488E}" type="slidenum">
              <a:rPr lang="en-US"/>
              <a:pPr>
                <a:defRPr/>
              </a:pPr>
              <a:t>‹#›</a:t>
            </a:fld>
            <a:endParaRPr lang="en-US" dirty="0"/>
          </a:p>
        </p:txBody>
      </p:sp>
    </p:spTree>
    <p:extLst>
      <p:ext uri="{BB962C8B-B14F-4D97-AF65-F5344CB8AC3E}">
        <p14:creationId xmlns:p14="http://schemas.microsoft.com/office/powerpoint/2010/main" val="33991176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600"/>
            </a:lvl1pPr>
            <a:lvl2pPr>
              <a:defRPr sz="22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13"/>
          <p:cNvSpPr>
            <a:spLocks noGrp="1"/>
          </p:cNvSpPr>
          <p:nvPr>
            <p:ph type="sldNum" sz="quarter" idx="10"/>
          </p:nvPr>
        </p:nvSpPr>
        <p:spPr/>
        <p:txBody>
          <a:bodyPr/>
          <a:lstStyle>
            <a:lvl1pPr>
              <a:defRPr/>
            </a:lvl1pPr>
          </a:lstStyle>
          <a:p>
            <a:pPr>
              <a:defRPr/>
            </a:pPr>
            <a:fld id="{5F86186C-762E-422D-94C9-428E49F31391}" type="slidenum">
              <a:rPr lang="en-US"/>
              <a:pPr>
                <a:defRPr/>
              </a:pPr>
              <a:t>‹#›</a:t>
            </a:fld>
            <a:endParaRPr lang="en-US" dirty="0"/>
          </a:p>
        </p:txBody>
      </p:sp>
    </p:spTree>
    <p:extLst>
      <p:ext uri="{BB962C8B-B14F-4D97-AF65-F5344CB8AC3E}">
        <p14:creationId xmlns:p14="http://schemas.microsoft.com/office/powerpoint/2010/main" val="22043464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Two Content Slide with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13"/>
          <p:cNvSpPr>
            <a:spLocks noGrp="1"/>
          </p:cNvSpPr>
          <p:nvPr>
            <p:ph type="sldNum" sz="quarter" idx="10"/>
          </p:nvPr>
        </p:nvSpPr>
        <p:spPr/>
        <p:txBody>
          <a:bodyPr/>
          <a:lstStyle>
            <a:lvl1pPr>
              <a:defRPr/>
            </a:lvl1pPr>
          </a:lstStyle>
          <a:p>
            <a:pPr>
              <a:defRPr/>
            </a:pPr>
            <a:fld id="{9FBBB3A8-D5D4-4E44-AC71-1CD17921BCF3}" type="slidenum">
              <a:rPr lang="en-US"/>
              <a:pPr>
                <a:defRPr/>
              </a:pPr>
              <a:t>‹#›</a:t>
            </a:fld>
            <a:endParaRPr lang="en-US" dirty="0"/>
          </a:p>
        </p:txBody>
      </p:sp>
    </p:spTree>
    <p:extLst>
      <p:ext uri="{BB962C8B-B14F-4D97-AF65-F5344CB8AC3E}">
        <p14:creationId xmlns:p14="http://schemas.microsoft.com/office/powerpoint/2010/main" val="36635420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ark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4487863"/>
            <a:ext cx="9144000" cy="2370137"/>
          </a:xfrm>
          <a:prstGeom prst="rect">
            <a:avLst/>
          </a:prstGeom>
          <a:solidFill>
            <a:schemeClr val="bg1"/>
          </a:solidFill>
          <a:ln>
            <a:noFill/>
          </a:ln>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 name="Rectangle 5"/>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7"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0"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1" name="Freeform 1098"/>
          <p:cNvSpPr>
            <a:spLocks/>
          </p:cNvSpPr>
          <p:nvPr/>
        </p:nvSpPr>
        <p:spPr bwMode="auto">
          <a:xfrm>
            <a:off x="487363" y="617538"/>
            <a:ext cx="3175" cy="1587"/>
          </a:xfrm>
          <a:custGeom>
            <a:avLst/>
            <a:gdLst>
              <a:gd name="T0" fmla="*/ 0 w 2"/>
              <a:gd name="T1" fmla="*/ 0 h 1587"/>
              <a:gd name="T2" fmla="*/ 5040313 w 2"/>
              <a:gd name="T3" fmla="*/ 0 h 1587"/>
              <a:gd name="T4" fmla="*/ 5040313 w 2"/>
              <a:gd name="T5" fmla="*/ 0 h 1587"/>
              <a:gd name="T6" fmla="*/ 5040313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5040313 w 2"/>
              <a:gd name="T35" fmla="*/ 0 h 1587"/>
              <a:gd name="T36" fmla="*/ 5040313 w 2"/>
              <a:gd name="T37" fmla="*/ 0 h 1587"/>
              <a:gd name="T38" fmla="*/ 5040313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15"/>
          <p:cNvSpPr>
            <a:spLocks/>
          </p:cNvSpPr>
          <p:nvPr/>
        </p:nvSpPr>
        <p:spPr bwMode="auto">
          <a:xfrm>
            <a:off x="458788" y="473075"/>
            <a:ext cx="3175" cy="3175"/>
          </a:xfrm>
          <a:custGeom>
            <a:avLst/>
            <a:gdLst>
              <a:gd name="T0" fmla="*/ 0 w 2"/>
              <a:gd name="T1" fmla="*/ 5040313 h 2"/>
              <a:gd name="T2" fmla="*/ 0 w 2"/>
              <a:gd name="T3" fmla="*/ 5040313 h 2"/>
              <a:gd name="T4" fmla="*/ 0 w 2"/>
              <a:gd name="T5" fmla="*/ 5040313 h 2"/>
              <a:gd name="T6" fmla="*/ 0 w 2"/>
              <a:gd name="T7" fmla="*/ 5040313 h 2"/>
              <a:gd name="T8" fmla="*/ 0 w 2"/>
              <a:gd name="T9" fmla="*/ 5040313 h 2"/>
              <a:gd name="T10" fmla="*/ 0 w 2"/>
              <a:gd name="T11" fmla="*/ 5040313 h 2"/>
              <a:gd name="T12" fmla="*/ 5040313 w 2"/>
              <a:gd name="T13" fmla="*/ 5040313 h 2"/>
              <a:gd name="T14" fmla="*/ 5040313 w 2"/>
              <a:gd name="T15" fmla="*/ 5040313 h 2"/>
              <a:gd name="T16" fmla="*/ 5040313 w 2"/>
              <a:gd name="T17" fmla="*/ 0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5040313 w 2"/>
              <a:gd name="T29" fmla="*/ 5040313 h 2"/>
              <a:gd name="T30" fmla="*/ 5040313 w 2"/>
              <a:gd name="T31" fmla="*/ 5040313 h 2"/>
              <a:gd name="T32" fmla="*/ 5040313 w 2"/>
              <a:gd name="T33" fmla="*/ 5040313 h 2"/>
              <a:gd name="T34" fmla="*/ 5040313 w 2"/>
              <a:gd name="T35" fmla="*/ 5040313 h 2"/>
              <a:gd name="T36" fmla="*/ 5040313 w 2"/>
              <a:gd name="T37" fmla="*/ 5040313 h 2"/>
              <a:gd name="T38" fmla="*/ 5040313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5040313 w 2"/>
              <a:gd name="T55" fmla="*/ 5040313 h 2"/>
              <a:gd name="T56" fmla="*/ 0 w 2"/>
              <a:gd name="T57" fmla="*/ 5040313 h 2"/>
              <a:gd name="T58" fmla="*/ 5040313 w 2"/>
              <a:gd name="T59" fmla="*/ 5040313 h 2"/>
              <a:gd name="T60" fmla="*/ 5040313 w 2"/>
              <a:gd name="T61" fmla="*/ 5040313 h 2"/>
              <a:gd name="T62" fmla="*/ 5040313 w 2"/>
              <a:gd name="T63" fmla="*/ 5040313 h 2"/>
              <a:gd name="T64" fmla="*/ 0 w 2"/>
              <a:gd name="T65" fmla="*/ 5040313 h 2"/>
              <a:gd name="T66" fmla="*/ 0 w 2"/>
              <a:gd name="T67" fmla="*/ 5040313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20"/>
          <p:cNvSpPr>
            <a:spLocks/>
          </p:cNvSpPr>
          <p:nvPr/>
        </p:nvSpPr>
        <p:spPr bwMode="auto">
          <a:xfrm>
            <a:off x="458788" y="463550"/>
            <a:ext cx="3175" cy="3175"/>
          </a:xfrm>
          <a:custGeom>
            <a:avLst/>
            <a:gdLst>
              <a:gd name="T0" fmla="*/ 0 w 2"/>
              <a:gd name="T1" fmla="*/ 0 h 2"/>
              <a:gd name="T2" fmla="*/ 0 w 2"/>
              <a:gd name="T3" fmla="*/ 5040313 h 2"/>
              <a:gd name="T4" fmla="*/ 0 w 2"/>
              <a:gd name="T5" fmla="*/ 5040313 h 2"/>
              <a:gd name="T6" fmla="*/ 0 w 2"/>
              <a:gd name="T7" fmla="*/ 5040313 h 2"/>
              <a:gd name="T8" fmla="*/ 5040313 w 2"/>
              <a:gd name="T9" fmla="*/ 5040313 h 2"/>
              <a:gd name="T10" fmla="*/ 5040313 w 2"/>
              <a:gd name="T11" fmla="*/ 0 h 2"/>
              <a:gd name="T12" fmla="*/ 5040313 w 2"/>
              <a:gd name="T13" fmla="*/ 0 h 2"/>
              <a:gd name="T14" fmla="*/ 5040313 w 2"/>
              <a:gd name="T15" fmla="*/ 0 h 2"/>
              <a:gd name="T16" fmla="*/ 0 w 2"/>
              <a:gd name="T17" fmla="*/ 0 h 2"/>
              <a:gd name="T18" fmla="*/ 0 w 2"/>
              <a:gd name="T19" fmla="*/ 5040313 h 2"/>
              <a:gd name="T20" fmla="*/ 0 w 2"/>
              <a:gd name="T21" fmla="*/ 5040313 h 2"/>
              <a:gd name="T22" fmla="*/ 5040313 w 2"/>
              <a:gd name="T23" fmla="*/ 0 h 2"/>
              <a:gd name="T24" fmla="*/ 5040313 w 2"/>
              <a:gd name="T25" fmla="*/ 0 h 2"/>
              <a:gd name="T26" fmla="*/ 5040313 w 2"/>
              <a:gd name="T27" fmla="*/ 0 h 2"/>
              <a:gd name="T28" fmla="*/ 5040313 w 2"/>
              <a:gd name="T29" fmla="*/ 5040313 h 2"/>
              <a:gd name="T30" fmla="*/ 0 w 2"/>
              <a:gd name="T31" fmla="*/ 5040313 h 2"/>
              <a:gd name="T32" fmla="*/ 0 w 2"/>
              <a:gd name="T33" fmla="*/ 5040313 h 2"/>
              <a:gd name="T34" fmla="*/ 0 w 2"/>
              <a:gd name="T35" fmla="*/ 5040313 h 2"/>
              <a:gd name="T36" fmla="*/ 0 w 2"/>
              <a:gd name="T37" fmla="*/ 5040313 h 2"/>
              <a:gd name="T38" fmla="*/ 0 w 2"/>
              <a:gd name="T39" fmla="*/ 5040313 h 2"/>
              <a:gd name="T40" fmla="*/ 0 w 2"/>
              <a:gd name="T41" fmla="*/ 5040313 h 2"/>
              <a:gd name="T42" fmla="*/ 0 w 2"/>
              <a:gd name="T43" fmla="*/ 5040313 h 2"/>
              <a:gd name="T44" fmla="*/ 0 w 2"/>
              <a:gd name="T45" fmla="*/ 5040313 h 2"/>
              <a:gd name="T46" fmla="*/ 5040313 w 2"/>
              <a:gd name="T47" fmla="*/ 5040313 h 2"/>
              <a:gd name="T48" fmla="*/ 0 w 2"/>
              <a:gd name="T49" fmla="*/ 5040313 h 2"/>
              <a:gd name="T50" fmla="*/ 0 w 2"/>
              <a:gd name="T51" fmla="*/ 5040313 h 2"/>
              <a:gd name="T52" fmla="*/ 5040313 w 2"/>
              <a:gd name="T53" fmla="*/ 5040313 h 2"/>
              <a:gd name="T54" fmla="*/ 5040313 w 2"/>
              <a:gd name="T55" fmla="*/ 5040313 h 2"/>
              <a:gd name="T56" fmla="*/ 5040313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34"/>
          <p:cNvSpPr>
            <a:spLocks/>
          </p:cNvSpPr>
          <p:nvPr/>
        </p:nvSpPr>
        <p:spPr bwMode="auto">
          <a:xfrm>
            <a:off x="703263" y="514350"/>
            <a:ext cx="3175" cy="6350"/>
          </a:xfrm>
          <a:custGeom>
            <a:avLst/>
            <a:gdLst>
              <a:gd name="T0" fmla="*/ 5040313 w 2"/>
              <a:gd name="T1" fmla="*/ 10080625 h 4"/>
              <a:gd name="T2" fmla="*/ 5040313 w 2"/>
              <a:gd name="T3" fmla="*/ 10080625 h 4"/>
              <a:gd name="T4" fmla="*/ 5040313 w 2"/>
              <a:gd name="T5" fmla="*/ 10080625 h 4"/>
              <a:gd name="T6" fmla="*/ 5040313 w 2"/>
              <a:gd name="T7" fmla="*/ 5040313 h 4"/>
              <a:gd name="T8" fmla="*/ 5040313 w 2"/>
              <a:gd name="T9" fmla="*/ 0 h 4"/>
              <a:gd name="T10" fmla="*/ 5040313 w 2"/>
              <a:gd name="T11" fmla="*/ 0 h 4"/>
              <a:gd name="T12" fmla="*/ 5040313 w 2"/>
              <a:gd name="T13" fmla="*/ 0 h 4"/>
              <a:gd name="T14" fmla="*/ 0 w 2"/>
              <a:gd name="T15" fmla="*/ 5040313 h 4"/>
              <a:gd name="T16" fmla="*/ 5040313 w 2"/>
              <a:gd name="T17" fmla="*/ 10080625 h 4"/>
              <a:gd name="T18" fmla="*/ 5040313 w 2"/>
              <a:gd name="T19" fmla="*/ 5040313 h 4"/>
              <a:gd name="T20" fmla="*/ 5040313 w 2"/>
              <a:gd name="T21" fmla="*/ 5040313 h 4"/>
              <a:gd name="T22" fmla="*/ 5040313 w 2"/>
              <a:gd name="T23" fmla="*/ 0 h 4"/>
              <a:gd name="T24" fmla="*/ 5040313 w 2"/>
              <a:gd name="T25" fmla="*/ 5040313 h 4"/>
              <a:gd name="T26" fmla="*/ 5040313 w 2"/>
              <a:gd name="T27" fmla="*/ 5040313 h 4"/>
              <a:gd name="T28" fmla="*/ 5040313 w 2"/>
              <a:gd name="T29" fmla="*/ 5040313 h 4"/>
              <a:gd name="T30" fmla="*/ 5040313 w 2"/>
              <a:gd name="T31" fmla="*/ 5040313 h 4"/>
              <a:gd name="T32" fmla="*/ 5040313 w 2"/>
              <a:gd name="T33" fmla="*/ 5040313 h 4"/>
              <a:gd name="T34" fmla="*/ 5040313 w 2"/>
              <a:gd name="T35" fmla="*/ 5040313 h 4"/>
              <a:gd name="T36" fmla="*/ 5040313 w 2"/>
              <a:gd name="T37" fmla="*/ 5040313 h 4"/>
              <a:gd name="T38" fmla="*/ 5040313 w 2"/>
              <a:gd name="T39" fmla="*/ 5040313 h 4"/>
              <a:gd name="T40" fmla="*/ 5040313 w 2"/>
              <a:gd name="T41" fmla="*/ 5040313 h 4"/>
              <a:gd name="T42" fmla="*/ 5040313 w 2"/>
              <a:gd name="T43" fmla="*/ 5040313 h 4"/>
              <a:gd name="T44" fmla="*/ 5040313 w 2"/>
              <a:gd name="T45" fmla="*/ 5040313 h 4"/>
              <a:gd name="T46" fmla="*/ 5040313 w 2"/>
              <a:gd name="T47" fmla="*/ 5040313 h 4"/>
              <a:gd name="T48" fmla="*/ 5040313 w 2"/>
              <a:gd name="T49" fmla="*/ 5040313 h 4"/>
              <a:gd name="T50" fmla="*/ 5040313 w 2"/>
              <a:gd name="T51" fmla="*/ 5040313 h 4"/>
              <a:gd name="T52" fmla="*/ 0 w 2"/>
              <a:gd name="T53" fmla="*/ 5040313 h 4"/>
              <a:gd name="T54" fmla="*/ 5040313 w 2"/>
              <a:gd name="T55" fmla="*/ 10080625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41"/>
          <p:cNvSpPr>
            <a:spLocks/>
          </p:cNvSpPr>
          <p:nvPr/>
        </p:nvSpPr>
        <p:spPr bwMode="auto">
          <a:xfrm>
            <a:off x="706438" y="479425"/>
            <a:ext cx="1587" cy="6350"/>
          </a:xfrm>
          <a:custGeom>
            <a:avLst/>
            <a:gdLst>
              <a:gd name="T0" fmla="*/ 0 w 1587"/>
              <a:gd name="T1" fmla="*/ 10080625 h 4"/>
              <a:gd name="T2" fmla="*/ 0 w 1587"/>
              <a:gd name="T3" fmla="*/ 5040313 h 4"/>
              <a:gd name="T4" fmla="*/ 0 w 1587"/>
              <a:gd name="T5" fmla="*/ 0 h 4"/>
              <a:gd name="T6" fmla="*/ 0 w 1587"/>
              <a:gd name="T7" fmla="*/ 0 h 4"/>
              <a:gd name="T8" fmla="*/ 0 w 1587"/>
              <a:gd name="T9" fmla="*/ 5040313 h 4"/>
              <a:gd name="T10" fmla="*/ 0 w 1587"/>
              <a:gd name="T11" fmla="*/ 5040313 h 4"/>
              <a:gd name="T12" fmla="*/ 0 w 1587"/>
              <a:gd name="T13" fmla="*/ 10080625 h 4"/>
              <a:gd name="T14" fmla="*/ 0 w 1587"/>
              <a:gd name="T15" fmla="*/ 5040313 h 4"/>
              <a:gd name="T16" fmla="*/ 0 w 1587"/>
              <a:gd name="T17" fmla="*/ 5040313 h 4"/>
              <a:gd name="T18" fmla="*/ 0 w 1587"/>
              <a:gd name="T19" fmla="*/ 5040313 h 4"/>
              <a:gd name="T20" fmla="*/ 0 w 1587"/>
              <a:gd name="T21" fmla="*/ 5040313 h 4"/>
              <a:gd name="T22" fmla="*/ 0 w 1587"/>
              <a:gd name="T23" fmla="*/ 5040313 h 4"/>
              <a:gd name="T24" fmla="*/ 0 w 1587"/>
              <a:gd name="T25" fmla="*/ 5040313 h 4"/>
              <a:gd name="T26" fmla="*/ 0 w 1587"/>
              <a:gd name="T27" fmla="*/ 5040313 h 4"/>
              <a:gd name="T28" fmla="*/ 0 w 1587"/>
              <a:gd name="T29" fmla="*/ 10080625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48"/>
          <p:cNvSpPr>
            <a:spLocks/>
          </p:cNvSpPr>
          <p:nvPr/>
        </p:nvSpPr>
        <p:spPr bwMode="auto">
          <a:xfrm>
            <a:off x="693738" y="460375"/>
            <a:ext cx="3175" cy="3175"/>
          </a:xfrm>
          <a:custGeom>
            <a:avLst/>
            <a:gdLst>
              <a:gd name="T0" fmla="*/ 5040313 w 2"/>
              <a:gd name="T1" fmla="*/ 5040313 h 2"/>
              <a:gd name="T2" fmla="*/ 5040313 w 2"/>
              <a:gd name="T3" fmla="*/ 0 h 2"/>
              <a:gd name="T4" fmla="*/ 5040313 w 2"/>
              <a:gd name="T5" fmla="*/ 0 h 2"/>
              <a:gd name="T6" fmla="*/ 5040313 w 2"/>
              <a:gd name="T7" fmla="*/ 0 h 2"/>
              <a:gd name="T8" fmla="*/ 5040313 w 2"/>
              <a:gd name="T9" fmla="*/ 0 h 2"/>
              <a:gd name="T10" fmla="*/ 0 w 2"/>
              <a:gd name="T11" fmla="*/ 0 h 2"/>
              <a:gd name="T12" fmla="*/ 0 w 2"/>
              <a:gd name="T13" fmla="*/ 0 h 2"/>
              <a:gd name="T14" fmla="*/ 0 w 2"/>
              <a:gd name="T15" fmla="*/ 5040313 h 2"/>
              <a:gd name="T16" fmla="*/ 0 w 2"/>
              <a:gd name="T17" fmla="*/ 5040313 h 2"/>
              <a:gd name="T18" fmla="*/ 0 w 2"/>
              <a:gd name="T19" fmla="*/ 5040313 h 2"/>
              <a:gd name="T20" fmla="*/ 5040313 w 2"/>
              <a:gd name="T21" fmla="*/ 5040313 h 2"/>
              <a:gd name="T22" fmla="*/ 5040313 w 2"/>
              <a:gd name="T23" fmla="*/ 5040313 h 2"/>
              <a:gd name="T24" fmla="*/ 5040313 w 2"/>
              <a:gd name="T25" fmla="*/ 0 h 2"/>
              <a:gd name="T26" fmla="*/ 5040313 w 2"/>
              <a:gd name="T27" fmla="*/ 0 h 2"/>
              <a:gd name="T28" fmla="*/ 5040313 w 2"/>
              <a:gd name="T29" fmla="*/ 0 h 2"/>
              <a:gd name="T30" fmla="*/ 0 w 2"/>
              <a:gd name="T31" fmla="*/ 5040313 h 2"/>
              <a:gd name="T32" fmla="*/ 5040313 w 2"/>
              <a:gd name="T33" fmla="*/ 5040313 h 2"/>
              <a:gd name="T34" fmla="*/ 5040313 w 2"/>
              <a:gd name="T35" fmla="*/ 0 h 2"/>
              <a:gd name="T36" fmla="*/ 0 w 2"/>
              <a:gd name="T37" fmla="*/ 5040313 h 2"/>
              <a:gd name="T38" fmla="*/ 5040313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0 w 2"/>
              <a:gd name="T55" fmla="*/ 5040313 h 2"/>
              <a:gd name="T56" fmla="*/ 0 w 2"/>
              <a:gd name="T57" fmla="*/ 5040313 h 2"/>
              <a:gd name="T58" fmla="*/ 5040313 w 2"/>
              <a:gd name="T59" fmla="*/ 5040313 h 2"/>
              <a:gd name="T60" fmla="*/ 5040313 w 2"/>
              <a:gd name="T61" fmla="*/ 5040313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0"/>
          <p:cNvSpPr>
            <a:spLocks/>
          </p:cNvSpPr>
          <p:nvPr/>
        </p:nvSpPr>
        <p:spPr bwMode="auto">
          <a:xfrm>
            <a:off x="684213" y="447675"/>
            <a:ext cx="1587" cy="3175"/>
          </a:xfrm>
          <a:custGeom>
            <a:avLst/>
            <a:gdLst>
              <a:gd name="T0" fmla="*/ 0 w 1587"/>
              <a:gd name="T1" fmla="*/ 5040313 h 2"/>
              <a:gd name="T2" fmla="*/ 0 w 1587"/>
              <a:gd name="T3" fmla="*/ 0 h 2"/>
              <a:gd name="T4" fmla="*/ 0 w 1587"/>
              <a:gd name="T5" fmla="*/ 5040313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2"/>
          <p:cNvSpPr>
            <a:spLocks/>
          </p:cNvSpPr>
          <p:nvPr/>
        </p:nvSpPr>
        <p:spPr bwMode="auto">
          <a:xfrm>
            <a:off x="684213" y="447675"/>
            <a:ext cx="3175" cy="3175"/>
          </a:xfrm>
          <a:custGeom>
            <a:avLst/>
            <a:gdLst>
              <a:gd name="T0" fmla="*/ 5040313 w 2"/>
              <a:gd name="T1" fmla="*/ 0 h 2"/>
              <a:gd name="T2" fmla="*/ 0 w 2"/>
              <a:gd name="T3" fmla="*/ 0 h 2"/>
              <a:gd name="T4" fmla="*/ 0 w 2"/>
              <a:gd name="T5" fmla="*/ 0 h 2"/>
              <a:gd name="T6" fmla="*/ 0 w 2"/>
              <a:gd name="T7" fmla="*/ 0 h 2"/>
              <a:gd name="T8" fmla="*/ 0 w 2"/>
              <a:gd name="T9" fmla="*/ 5040313 h 2"/>
              <a:gd name="T10" fmla="*/ 5040313 w 2"/>
              <a:gd name="T11" fmla="*/ 5040313 h 2"/>
              <a:gd name="T12" fmla="*/ 5040313 w 2"/>
              <a:gd name="T13" fmla="*/ 0 h 2"/>
              <a:gd name="T14" fmla="*/ 0 w 2"/>
              <a:gd name="T15" fmla="*/ 0 h 2"/>
              <a:gd name="T16" fmla="*/ 0 w 2"/>
              <a:gd name="T17" fmla="*/ 0 h 2"/>
              <a:gd name="T18" fmla="*/ 0 w 2"/>
              <a:gd name="T19" fmla="*/ 0 h 2"/>
              <a:gd name="T20" fmla="*/ 0 w 2"/>
              <a:gd name="T21" fmla="*/ 5040313 h 2"/>
              <a:gd name="T22" fmla="*/ 5040313 w 2"/>
              <a:gd name="T23" fmla="*/ 5040313 h 2"/>
              <a:gd name="T24" fmla="*/ 5040313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54"/>
          <p:cNvSpPr>
            <a:spLocks/>
          </p:cNvSpPr>
          <p:nvPr/>
        </p:nvSpPr>
        <p:spPr bwMode="auto">
          <a:xfrm>
            <a:off x="665163" y="434975"/>
            <a:ext cx="3175" cy="1588"/>
          </a:xfrm>
          <a:custGeom>
            <a:avLst/>
            <a:gdLst>
              <a:gd name="T0" fmla="*/ 5040313 w 2"/>
              <a:gd name="T1" fmla="*/ 0 h 1588"/>
              <a:gd name="T2" fmla="*/ 0 w 2"/>
              <a:gd name="T3" fmla="*/ 0 h 1588"/>
              <a:gd name="T4" fmla="*/ 5040313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56"/>
          <p:cNvSpPr>
            <a:spLocks/>
          </p:cNvSpPr>
          <p:nvPr/>
        </p:nvSpPr>
        <p:spPr bwMode="auto">
          <a:xfrm>
            <a:off x="665163" y="431800"/>
            <a:ext cx="3175" cy="3175"/>
          </a:xfrm>
          <a:custGeom>
            <a:avLst/>
            <a:gdLst>
              <a:gd name="T0" fmla="*/ 5040313 w 2"/>
              <a:gd name="T1" fmla="*/ 5040313 h 2"/>
              <a:gd name="T2" fmla="*/ 0 w 2"/>
              <a:gd name="T3" fmla="*/ 0 h 2"/>
              <a:gd name="T4" fmla="*/ 0 w 2"/>
              <a:gd name="T5" fmla="*/ 0 h 2"/>
              <a:gd name="T6" fmla="*/ 0 w 2"/>
              <a:gd name="T7" fmla="*/ 5040313 h 2"/>
              <a:gd name="T8" fmla="*/ 5040313 w 2"/>
              <a:gd name="T9" fmla="*/ 5040313 h 2"/>
              <a:gd name="T10" fmla="*/ 5040313 w 2"/>
              <a:gd name="T11" fmla="*/ 5040313 h 2"/>
              <a:gd name="T12" fmla="*/ 5040313 w 2"/>
              <a:gd name="T13" fmla="*/ 5040313 h 2"/>
              <a:gd name="T14" fmla="*/ 0 w 2"/>
              <a:gd name="T15" fmla="*/ 0 h 2"/>
              <a:gd name="T16" fmla="*/ 0 w 2"/>
              <a:gd name="T17" fmla="*/ 0 h 2"/>
              <a:gd name="T18" fmla="*/ 0 w 2"/>
              <a:gd name="T19" fmla="*/ 5040313 h 2"/>
              <a:gd name="T20" fmla="*/ 5040313 w 2"/>
              <a:gd name="T21" fmla="*/ 5040313 h 2"/>
              <a:gd name="T22" fmla="*/ 5040313 w 2"/>
              <a:gd name="T23" fmla="*/ 5040313 h 2"/>
              <a:gd name="T24" fmla="*/ 5040313 w 2"/>
              <a:gd name="T25" fmla="*/ 5040313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63"/>
          <p:cNvSpPr>
            <a:spLocks/>
          </p:cNvSpPr>
          <p:nvPr/>
        </p:nvSpPr>
        <p:spPr bwMode="auto">
          <a:xfrm>
            <a:off x="611188" y="415925"/>
            <a:ext cx="6350" cy="3175"/>
          </a:xfrm>
          <a:custGeom>
            <a:avLst/>
            <a:gdLst>
              <a:gd name="T0" fmla="*/ 5040313 w 4"/>
              <a:gd name="T1" fmla="*/ 5040313 h 2"/>
              <a:gd name="T2" fmla="*/ 5040313 w 4"/>
              <a:gd name="T3" fmla="*/ 5040313 h 2"/>
              <a:gd name="T4" fmla="*/ 10080625 w 4"/>
              <a:gd name="T5" fmla="*/ 5040313 h 2"/>
              <a:gd name="T6" fmla="*/ 10080625 w 4"/>
              <a:gd name="T7" fmla="*/ 0 h 2"/>
              <a:gd name="T8" fmla="*/ 10080625 w 4"/>
              <a:gd name="T9" fmla="*/ 0 h 2"/>
              <a:gd name="T10" fmla="*/ 5040313 w 4"/>
              <a:gd name="T11" fmla="*/ 0 h 2"/>
              <a:gd name="T12" fmla="*/ 5040313 w 4"/>
              <a:gd name="T13" fmla="*/ 0 h 2"/>
              <a:gd name="T14" fmla="*/ 0 w 4"/>
              <a:gd name="T15" fmla="*/ 5040313 h 2"/>
              <a:gd name="T16" fmla="*/ 5040313 w 4"/>
              <a:gd name="T17" fmla="*/ 5040313 h 2"/>
              <a:gd name="T18" fmla="*/ 5040313 w 4"/>
              <a:gd name="T19" fmla="*/ 0 h 2"/>
              <a:gd name="T20" fmla="*/ 10080625 w 4"/>
              <a:gd name="T21" fmla="*/ 5040313 h 2"/>
              <a:gd name="T22" fmla="*/ 10080625 w 4"/>
              <a:gd name="T23" fmla="*/ 0 h 2"/>
              <a:gd name="T24" fmla="*/ 10080625 w 4"/>
              <a:gd name="T25" fmla="*/ 0 h 2"/>
              <a:gd name="T26" fmla="*/ 5040313 w 4"/>
              <a:gd name="T27" fmla="*/ 0 h 2"/>
              <a:gd name="T28" fmla="*/ 5040313 w 4"/>
              <a:gd name="T29" fmla="*/ 0 h 2"/>
              <a:gd name="T30" fmla="*/ 0 w 4"/>
              <a:gd name="T31" fmla="*/ 0 h 2"/>
              <a:gd name="T32" fmla="*/ 5040313 w 4"/>
              <a:gd name="T33" fmla="*/ 5040313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72"/>
          <p:cNvSpPr>
            <a:spLocks/>
          </p:cNvSpPr>
          <p:nvPr/>
        </p:nvSpPr>
        <p:spPr bwMode="auto">
          <a:xfrm>
            <a:off x="582613" y="476250"/>
            <a:ext cx="3175" cy="3175"/>
          </a:xfrm>
          <a:custGeom>
            <a:avLst/>
            <a:gdLst>
              <a:gd name="T0" fmla="*/ 0 w 2"/>
              <a:gd name="T1" fmla="*/ 5040313 h 2"/>
              <a:gd name="T2" fmla="*/ 0 w 2"/>
              <a:gd name="T3" fmla="*/ 5040313 h 2"/>
              <a:gd name="T4" fmla="*/ 5040313 w 2"/>
              <a:gd name="T5" fmla="*/ 5040313 h 2"/>
              <a:gd name="T6" fmla="*/ 0 w 2"/>
              <a:gd name="T7" fmla="*/ 0 h 2"/>
              <a:gd name="T8" fmla="*/ 0 w 2"/>
              <a:gd name="T9" fmla="*/ 0 h 2"/>
              <a:gd name="T10" fmla="*/ 0 w 2"/>
              <a:gd name="T11" fmla="*/ 0 h 2"/>
              <a:gd name="T12" fmla="*/ 0 w 2"/>
              <a:gd name="T13" fmla="*/ 5040313 h 2"/>
              <a:gd name="T14" fmla="*/ 0 w 2"/>
              <a:gd name="T15" fmla="*/ 5040313 h 2"/>
              <a:gd name="T16" fmla="*/ 0 w 2"/>
              <a:gd name="T17" fmla="*/ 5040313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0 w 2"/>
              <a:gd name="T29" fmla="*/ 5040313 h 2"/>
              <a:gd name="T30" fmla="*/ 0 w 2"/>
              <a:gd name="T31" fmla="*/ 5040313 h 2"/>
              <a:gd name="T32" fmla="*/ 0 w 2"/>
              <a:gd name="T33" fmla="*/ 5040313 h 2"/>
              <a:gd name="T34" fmla="*/ 0 w 2"/>
              <a:gd name="T35" fmla="*/ 5040313 h 2"/>
              <a:gd name="T36" fmla="*/ 0 w 2"/>
              <a:gd name="T37" fmla="*/ 5040313 h 2"/>
              <a:gd name="T38" fmla="*/ 0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0 w 2"/>
              <a:gd name="T55" fmla="*/ 5040313 h 2"/>
              <a:gd name="T56" fmla="*/ 0 w 2"/>
              <a:gd name="T57" fmla="*/ 5040313 h 2"/>
              <a:gd name="T58" fmla="*/ 0 w 2"/>
              <a:gd name="T59" fmla="*/ 5040313 h 2"/>
              <a:gd name="T60" fmla="*/ 0 w 2"/>
              <a:gd name="T61" fmla="*/ 5040313 h 2"/>
              <a:gd name="T62" fmla="*/ 0 w 2"/>
              <a:gd name="T63" fmla="*/ 5040313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177"/>
          <p:cNvSpPr>
            <a:spLocks/>
          </p:cNvSpPr>
          <p:nvPr/>
        </p:nvSpPr>
        <p:spPr bwMode="auto">
          <a:xfrm>
            <a:off x="557213" y="534988"/>
            <a:ext cx="3175" cy="3175"/>
          </a:xfrm>
          <a:custGeom>
            <a:avLst/>
            <a:gdLst>
              <a:gd name="T0" fmla="*/ 0 w 2"/>
              <a:gd name="T1" fmla="*/ 5040313 h 2"/>
              <a:gd name="T2" fmla="*/ 5040313 w 2"/>
              <a:gd name="T3" fmla="*/ 5040313 h 2"/>
              <a:gd name="T4" fmla="*/ 5040313 w 2"/>
              <a:gd name="T5" fmla="*/ 5040313 h 2"/>
              <a:gd name="T6" fmla="*/ 5040313 w 2"/>
              <a:gd name="T7" fmla="*/ 0 h 2"/>
              <a:gd name="T8" fmla="*/ 5040313 w 2"/>
              <a:gd name="T9" fmla="*/ 0 h 2"/>
              <a:gd name="T10" fmla="*/ 5040313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5040313 h 2"/>
              <a:gd name="T40" fmla="*/ 0 w 2"/>
              <a:gd name="T41" fmla="*/ 5040313 h 2"/>
              <a:gd name="T42" fmla="*/ 5040313 w 2"/>
              <a:gd name="T43" fmla="*/ 5040313 h 2"/>
              <a:gd name="T44" fmla="*/ 5040313 w 2"/>
              <a:gd name="T45" fmla="*/ 0 h 2"/>
              <a:gd name="T46" fmla="*/ 5040313 w 2"/>
              <a:gd name="T47" fmla="*/ 0 h 2"/>
              <a:gd name="T48" fmla="*/ 5040313 w 2"/>
              <a:gd name="T49" fmla="*/ 0 h 2"/>
              <a:gd name="T50" fmla="*/ 5040313 w 2"/>
              <a:gd name="T51" fmla="*/ 0 h 2"/>
              <a:gd name="T52" fmla="*/ 5040313 w 2"/>
              <a:gd name="T53" fmla="*/ 0 h 2"/>
              <a:gd name="T54" fmla="*/ 5040313 w 2"/>
              <a:gd name="T55" fmla="*/ 0 h 2"/>
              <a:gd name="T56" fmla="*/ 5040313 w 2"/>
              <a:gd name="T57" fmla="*/ 0 h 2"/>
              <a:gd name="T58" fmla="*/ 5040313 w 2"/>
              <a:gd name="T59" fmla="*/ 0 h 2"/>
              <a:gd name="T60" fmla="*/ 5040313 w 2"/>
              <a:gd name="T61" fmla="*/ 0 h 2"/>
              <a:gd name="T62" fmla="*/ 5040313 w 2"/>
              <a:gd name="T63" fmla="*/ 0 h 2"/>
              <a:gd name="T64" fmla="*/ 5040313 w 2"/>
              <a:gd name="T65" fmla="*/ 0 h 2"/>
              <a:gd name="T66" fmla="*/ 5040313 w 2"/>
              <a:gd name="T67" fmla="*/ 5040313 h 2"/>
              <a:gd name="T68" fmla="*/ 5040313 w 2"/>
              <a:gd name="T69" fmla="*/ 0 h 2"/>
              <a:gd name="T70" fmla="*/ 5040313 w 2"/>
              <a:gd name="T71" fmla="*/ 0 h 2"/>
              <a:gd name="T72" fmla="*/ 0 w 2"/>
              <a:gd name="T73" fmla="*/ 0 h 2"/>
              <a:gd name="T74" fmla="*/ 0 w 2"/>
              <a:gd name="T75" fmla="*/ 0 h 2"/>
              <a:gd name="T76" fmla="*/ 0 w 2"/>
              <a:gd name="T77" fmla="*/ 5040313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1180"/>
          <p:cNvSpPr>
            <a:spLocks/>
          </p:cNvSpPr>
          <p:nvPr/>
        </p:nvSpPr>
        <p:spPr bwMode="auto">
          <a:xfrm>
            <a:off x="560388" y="530225"/>
            <a:ext cx="3175" cy="4763"/>
          </a:xfrm>
          <a:custGeom>
            <a:avLst/>
            <a:gdLst>
              <a:gd name="T0" fmla="*/ 0 w 2"/>
              <a:gd name="T1" fmla="*/ 7562056 h 3"/>
              <a:gd name="T2" fmla="*/ 0 w 2"/>
              <a:gd name="T3" fmla="*/ 7562056 h 3"/>
              <a:gd name="T4" fmla="*/ 5040313 w 2"/>
              <a:gd name="T5" fmla="*/ 7562056 h 3"/>
              <a:gd name="T6" fmla="*/ 5040313 w 2"/>
              <a:gd name="T7" fmla="*/ 7562056 h 3"/>
              <a:gd name="T8" fmla="*/ 0 w 2"/>
              <a:gd name="T9" fmla="*/ 0 h 3"/>
              <a:gd name="T10" fmla="*/ 0 w 2"/>
              <a:gd name="T11" fmla="*/ 0 h 3"/>
              <a:gd name="T12" fmla="*/ 0 w 2"/>
              <a:gd name="T13" fmla="*/ 0 h 3"/>
              <a:gd name="T14" fmla="*/ 0 w 2"/>
              <a:gd name="T15" fmla="*/ 7562056 h 3"/>
              <a:gd name="T16" fmla="*/ 0 w 2"/>
              <a:gd name="T17" fmla="*/ 7562056 h 3"/>
              <a:gd name="T18" fmla="*/ 0 w 2"/>
              <a:gd name="T19" fmla="*/ 7562056 h 3"/>
              <a:gd name="T20" fmla="*/ 0 w 2"/>
              <a:gd name="T21" fmla="*/ 7562056 h 3"/>
              <a:gd name="T22" fmla="*/ 0 w 2"/>
              <a:gd name="T23" fmla="*/ 0 h 3"/>
              <a:gd name="T24" fmla="*/ 0 w 2"/>
              <a:gd name="T25" fmla="*/ 7562056 h 3"/>
              <a:gd name="T26" fmla="*/ 0 w 2"/>
              <a:gd name="T27" fmla="*/ 7562056 h 3"/>
              <a:gd name="T28" fmla="*/ 0 w 2"/>
              <a:gd name="T29" fmla="*/ 7562056 h 3"/>
              <a:gd name="T30" fmla="*/ 0 w 2"/>
              <a:gd name="T31" fmla="*/ 7562056 h 3"/>
              <a:gd name="T32" fmla="*/ 0 w 2"/>
              <a:gd name="T33" fmla="*/ 7562056 h 3"/>
              <a:gd name="T34" fmla="*/ 0 w 2"/>
              <a:gd name="T35" fmla="*/ 7562056 h 3"/>
              <a:gd name="T36" fmla="*/ 0 w 2"/>
              <a:gd name="T37" fmla="*/ 7562056 h 3"/>
              <a:gd name="T38" fmla="*/ 0 w 2"/>
              <a:gd name="T39" fmla="*/ 7562056 h 3"/>
              <a:gd name="T40" fmla="*/ 0 w 2"/>
              <a:gd name="T41" fmla="*/ 7562056 h 3"/>
              <a:gd name="T42" fmla="*/ 0 w 2"/>
              <a:gd name="T43" fmla="*/ 7562056 h 3"/>
              <a:gd name="T44" fmla="*/ 0 w 2"/>
              <a:gd name="T45" fmla="*/ 7562056 h 3"/>
              <a:gd name="T46" fmla="*/ 0 w 2"/>
              <a:gd name="T47" fmla="*/ 7562056 h 3"/>
              <a:gd name="T48" fmla="*/ 0 w 2"/>
              <a:gd name="T49" fmla="*/ 7562056 h 3"/>
              <a:gd name="T50" fmla="*/ 0 w 2"/>
              <a:gd name="T51" fmla="*/ 7562056 h 3"/>
              <a:gd name="T52" fmla="*/ 0 w 2"/>
              <a:gd name="T53" fmla="*/ 756205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Freeform 1210"/>
          <p:cNvSpPr>
            <a:spLocks/>
          </p:cNvSpPr>
          <p:nvPr/>
        </p:nvSpPr>
        <p:spPr bwMode="auto">
          <a:xfrm>
            <a:off x="595313" y="557213"/>
            <a:ext cx="3175" cy="3175"/>
          </a:xfrm>
          <a:custGeom>
            <a:avLst/>
            <a:gdLst>
              <a:gd name="T0" fmla="*/ 0 w 2"/>
              <a:gd name="T1" fmla="*/ 5040313 h 2"/>
              <a:gd name="T2" fmla="*/ 0 w 2"/>
              <a:gd name="T3" fmla="*/ 5040313 h 2"/>
              <a:gd name="T4" fmla="*/ 5040313 w 2"/>
              <a:gd name="T5" fmla="*/ 5040313 h 2"/>
              <a:gd name="T6" fmla="*/ 5040313 w 2"/>
              <a:gd name="T7" fmla="*/ 0 h 2"/>
              <a:gd name="T8" fmla="*/ 5040313 w 2"/>
              <a:gd name="T9" fmla="*/ 0 h 2"/>
              <a:gd name="T10" fmla="*/ 0 w 2"/>
              <a:gd name="T11" fmla="*/ 0 h 2"/>
              <a:gd name="T12" fmla="*/ 0 w 2"/>
              <a:gd name="T13" fmla="*/ 0 h 2"/>
              <a:gd name="T14" fmla="*/ 0 w 2"/>
              <a:gd name="T15" fmla="*/ 0 h 2"/>
              <a:gd name="T16" fmla="*/ 0 w 2"/>
              <a:gd name="T17" fmla="*/ 5040313 h 2"/>
              <a:gd name="T18" fmla="*/ 0 w 2"/>
              <a:gd name="T19" fmla="*/ 5040313 h 2"/>
              <a:gd name="T20" fmla="*/ 5040313 w 2"/>
              <a:gd name="T21" fmla="*/ 5040313 h 2"/>
              <a:gd name="T22" fmla="*/ 5040313 w 2"/>
              <a:gd name="T23" fmla="*/ 0 h 2"/>
              <a:gd name="T24" fmla="*/ 5040313 w 2"/>
              <a:gd name="T25" fmla="*/ 0 h 2"/>
              <a:gd name="T26" fmla="*/ 0 w 2"/>
              <a:gd name="T27" fmla="*/ 0 h 2"/>
              <a:gd name="T28" fmla="*/ 0 w 2"/>
              <a:gd name="T29" fmla="*/ 0 h 2"/>
              <a:gd name="T30" fmla="*/ 0 w 2"/>
              <a:gd name="T31" fmla="*/ 0 h 2"/>
              <a:gd name="T32" fmla="*/ 0 w 2"/>
              <a:gd name="T33" fmla="*/ 5040313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Freeform 1214"/>
          <p:cNvSpPr>
            <a:spLocks/>
          </p:cNvSpPr>
          <p:nvPr/>
        </p:nvSpPr>
        <p:spPr bwMode="auto">
          <a:xfrm>
            <a:off x="595313" y="557213"/>
            <a:ext cx="3175" cy="3175"/>
          </a:xfrm>
          <a:custGeom>
            <a:avLst/>
            <a:gdLst>
              <a:gd name="T0" fmla="*/ 0 w 2"/>
              <a:gd name="T1" fmla="*/ 5040313 h 2"/>
              <a:gd name="T2" fmla="*/ 5040313 w 2"/>
              <a:gd name="T3" fmla="*/ 5040313 h 2"/>
              <a:gd name="T4" fmla="*/ 0 w 2"/>
              <a:gd name="T5" fmla="*/ 0 h 2"/>
              <a:gd name="T6" fmla="*/ 0 w 2"/>
              <a:gd name="T7" fmla="*/ 5040313 h 2"/>
              <a:gd name="T8" fmla="*/ 0 w 2"/>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1"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1221"/>
          <p:cNvSpPr>
            <a:spLocks/>
          </p:cNvSpPr>
          <p:nvPr/>
        </p:nvSpPr>
        <p:spPr bwMode="auto">
          <a:xfrm>
            <a:off x="731838" y="541338"/>
            <a:ext cx="3175" cy="3175"/>
          </a:xfrm>
          <a:custGeom>
            <a:avLst/>
            <a:gdLst>
              <a:gd name="T0" fmla="*/ 5040313 w 2"/>
              <a:gd name="T1" fmla="*/ 0 h 2"/>
              <a:gd name="T2" fmla="*/ 5040313 w 2"/>
              <a:gd name="T3" fmla="*/ 0 h 2"/>
              <a:gd name="T4" fmla="*/ 5040313 w 2"/>
              <a:gd name="T5" fmla="*/ 0 h 2"/>
              <a:gd name="T6" fmla="*/ 0 w 2"/>
              <a:gd name="T7" fmla="*/ 0 h 2"/>
              <a:gd name="T8" fmla="*/ 0 w 2"/>
              <a:gd name="T9" fmla="*/ 0 h 2"/>
              <a:gd name="T10" fmla="*/ 0 w 2"/>
              <a:gd name="T11" fmla="*/ 5040313 h 2"/>
              <a:gd name="T12" fmla="*/ 5040313 w 2"/>
              <a:gd name="T13" fmla="*/ 0 h 2"/>
              <a:gd name="T14" fmla="*/ 5040313 w 2"/>
              <a:gd name="T15" fmla="*/ 0 h 2"/>
              <a:gd name="T16" fmla="*/ 5040313 w 2"/>
              <a:gd name="T17" fmla="*/ 0 h 2"/>
              <a:gd name="T18" fmla="*/ 0 w 2"/>
              <a:gd name="T19" fmla="*/ 0 h 2"/>
              <a:gd name="T20" fmla="*/ 0 w 2"/>
              <a:gd name="T21" fmla="*/ 0 h 2"/>
              <a:gd name="T22" fmla="*/ 0 w 2"/>
              <a:gd name="T23" fmla="*/ 5040313 h 2"/>
              <a:gd name="T24" fmla="*/ 5040313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Freeform 1234"/>
          <p:cNvSpPr>
            <a:spLocks/>
          </p:cNvSpPr>
          <p:nvPr/>
        </p:nvSpPr>
        <p:spPr bwMode="auto">
          <a:xfrm>
            <a:off x="722313" y="550863"/>
            <a:ext cx="3175" cy="1587"/>
          </a:xfrm>
          <a:custGeom>
            <a:avLst/>
            <a:gdLst>
              <a:gd name="T0" fmla="*/ 0 w 2"/>
              <a:gd name="T1" fmla="*/ 0 h 1587"/>
              <a:gd name="T2" fmla="*/ 0 w 2"/>
              <a:gd name="T3" fmla="*/ 0 h 1587"/>
              <a:gd name="T4" fmla="*/ 5040313 w 2"/>
              <a:gd name="T5" fmla="*/ 0 h 1587"/>
              <a:gd name="T6" fmla="*/ 5040313 w 2"/>
              <a:gd name="T7" fmla="*/ 0 h 1587"/>
              <a:gd name="T8" fmla="*/ 5040313 w 2"/>
              <a:gd name="T9" fmla="*/ 0 h 1587"/>
              <a:gd name="T10" fmla="*/ 5040313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5040313 w 2"/>
              <a:gd name="T25" fmla="*/ 0 h 1587"/>
              <a:gd name="T26" fmla="*/ 5040313 w 2"/>
              <a:gd name="T27" fmla="*/ 0 h 1587"/>
              <a:gd name="T28" fmla="*/ 5040313 w 2"/>
              <a:gd name="T29" fmla="*/ 0 h 1587"/>
              <a:gd name="T30" fmla="*/ 0 w 2"/>
              <a:gd name="T31" fmla="*/ 0 h 1587"/>
              <a:gd name="T32" fmla="*/ 0 w 2"/>
              <a:gd name="T33" fmla="*/ 0 h 1587"/>
              <a:gd name="T34" fmla="*/ 5040313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40"/>
          <p:cNvSpPr>
            <a:spLocks/>
          </p:cNvSpPr>
          <p:nvPr/>
        </p:nvSpPr>
        <p:spPr bwMode="auto">
          <a:xfrm>
            <a:off x="728663" y="541338"/>
            <a:ext cx="1587" cy="3175"/>
          </a:xfrm>
          <a:custGeom>
            <a:avLst/>
            <a:gdLst>
              <a:gd name="T0" fmla="*/ 0 w 1587"/>
              <a:gd name="T1" fmla="*/ 5040313 h 2"/>
              <a:gd name="T2" fmla="*/ 0 w 1587"/>
              <a:gd name="T3" fmla="*/ 5040313 h 2"/>
              <a:gd name="T4" fmla="*/ 0 w 1587"/>
              <a:gd name="T5" fmla="*/ 0 h 2"/>
              <a:gd name="T6" fmla="*/ 0 w 1587"/>
              <a:gd name="T7" fmla="*/ 5040313 h 2"/>
              <a:gd name="T8" fmla="*/ 0 w 1587"/>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43"/>
          <p:cNvSpPr>
            <a:spLocks/>
          </p:cNvSpPr>
          <p:nvPr/>
        </p:nvSpPr>
        <p:spPr bwMode="auto">
          <a:xfrm>
            <a:off x="728663" y="538163"/>
            <a:ext cx="3175" cy="3175"/>
          </a:xfrm>
          <a:custGeom>
            <a:avLst/>
            <a:gdLst>
              <a:gd name="T0" fmla="*/ 5040313 w 2"/>
              <a:gd name="T1" fmla="*/ 5040313 h 2"/>
              <a:gd name="T2" fmla="*/ 5040313 w 2"/>
              <a:gd name="T3" fmla="*/ 5040313 h 2"/>
              <a:gd name="T4" fmla="*/ 5040313 w 2"/>
              <a:gd name="T5" fmla="*/ 5040313 h 2"/>
              <a:gd name="T6" fmla="*/ 5040313 w 2"/>
              <a:gd name="T7" fmla="*/ 5040313 h 2"/>
              <a:gd name="T8" fmla="*/ 0 w 2"/>
              <a:gd name="T9" fmla="*/ 5040313 h 2"/>
              <a:gd name="T10" fmla="*/ 0 w 2"/>
              <a:gd name="T11" fmla="*/ 5040313 h 2"/>
              <a:gd name="T12" fmla="*/ 5040313 w 2"/>
              <a:gd name="T13" fmla="*/ 5040313 h 2"/>
              <a:gd name="T14" fmla="*/ 0 w 2"/>
              <a:gd name="T15" fmla="*/ 5040313 h 2"/>
              <a:gd name="T16" fmla="*/ 0 w 2"/>
              <a:gd name="T17" fmla="*/ 5040313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0 w 2"/>
              <a:gd name="T29" fmla="*/ 5040313 h 2"/>
              <a:gd name="T30" fmla="*/ 0 w 2"/>
              <a:gd name="T31" fmla="*/ 5040313 h 2"/>
              <a:gd name="T32" fmla="*/ 0 w 2"/>
              <a:gd name="T33" fmla="*/ 5040313 h 2"/>
              <a:gd name="T34" fmla="*/ 0 w 2"/>
              <a:gd name="T35" fmla="*/ 5040313 h 2"/>
              <a:gd name="T36" fmla="*/ 0 w 2"/>
              <a:gd name="T37" fmla="*/ 5040313 h 2"/>
              <a:gd name="T38" fmla="*/ 5040313 w 2"/>
              <a:gd name="T39" fmla="*/ 5040313 h 2"/>
              <a:gd name="T40" fmla="*/ 5040313 w 2"/>
              <a:gd name="T41" fmla="*/ 5040313 h 2"/>
              <a:gd name="T42" fmla="*/ 5040313 w 2"/>
              <a:gd name="T43" fmla="*/ 5040313 h 2"/>
              <a:gd name="T44" fmla="*/ 5040313 w 2"/>
              <a:gd name="T45" fmla="*/ 5040313 h 2"/>
              <a:gd name="T46" fmla="*/ 5040313 w 2"/>
              <a:gd name="T47" fmla="*/ 5040313 h 2"/>
              <a:gd name="T48" fmla="*/ 0 w 2"/>
              <a:gd name="T49" fmla="*/ 0 h 2"/>
              <a:gd name="T50" fmla="*/ 0 w 2"/>
              <a:gd name="T51" fmla="*/ 5040313 h 2"/>
              <a:gd name="T52" fmla="*/ 0 w 2"/>
              <a:gd name="T53" fmla="*/ 5040313 h 2"/>
              <a:gd name="T54" fmla="*/ 0 w 2"/>
              <a:gd name="T55" fmla="*/ 5040313 h 2"/>
              <a:gd name="T56" fmla="*/ 5040313 w 2"/>
              <a:gd name="T57" fmla="*/ 5040313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46"/>
          <p:cNvSpPr>
            <a:spLocks/>
          </p:cNvSpPr>
          <p:nvPr/>
        </p:nvSpPr>
        <p:spPr bwMode="auto">
          <a:xfrm>
            <a:off x="725488" y="547688"/>
            <a:ext cx="3175" cy="3175"/>
          </a:xfrm>
          <a:custGeom>
            <a:avLst/>
            <a:gdLst>
              <a:gd name="T0" fmla="*/ 0 w 2"/>
              <a:gd name="T1" fmla="*/ 5040313 h 2"/>
              <a:gd name="T2" fmla="*/ 0 w 2"/>
              <a:gd name="T3" fmla="*/ 5040313 h 2"/>
              <a:gd name="T4" fmla="*/ 5040313 w 2"/>
              <a:gd name="T5" fmla="*/ 0 h 2"/>
              <a:gd name="T6" fmla="*/ 5040313 w 2"/>
              <a:gd name="T7" fmla="*/ 0 h 2"/>
              <a:gd name="T8" fmla="*/ 0 w 2"/>
              <a:gd name="T9" fmla="*/ 0 h 2"/>
              <a:gd name="T10" fmla="*/ 0 w 2"/>
              <a:gd name="T11" fmla="*/ 0 h 2"/>
              <a:gd name="T12" fmla="*/ 0 w 2"/>
              <a:gd name="T13" fmla="*/ 5040313 h 2"/>
              <a:gd name="T14" fmla="*/ 0 w 2"/>
              <a:gd name="T15" fmla="*/ 5040313 h 2"/>
              <a:gd name="T16" fmla="*/ 5040313 w 2"/>
              <a:gd name="T17" fmla="*/ 0 h 2"/>
              <a:gd name="T18" fmla="*/ 5040313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5040313 h 2"/>
              <a:gd name="T48" fmla="*/ 0 w 2"/>
              <a:gd name="T49" fmla="*/ 5040313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50"/>
          <p:cNvSpPr>
            <a:spLocks/>
          </p:cNvSpPr>
          <p:nvPr/>
        </p:nvSpPr>
        <p:spPr bwMode="auto">
          <a:xfrm>
            <a:off x="731838" y="530225"/>
            <a:ext cx="3175" cy="1588"/>
          </a:xfrm>
          <a:custGeom>
            <a:avLst/>
            <a:gdLst>
              <a:gd name="T0" fmla="*/ 5040313 w 2"/>
              <a:gd name="T1" fmla="*/ 0 h 1588"/>
              <a:gd name="T2" fmla="*/ 0 w 2"/>
              <a:gd name="T3" fmla="*/ 0 h 1588"/>
              <a:gd name="T4" fmla="*/ 5040313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1252"/>
          <p:cNvSpPr>
            <a:spLocks/>
          </p:cNvSpPr>
          <p:nvPr/>
        </p:nvSpPr>
        <p:spPr bwMode="auto">
          <a:xfrm>
            <a:off x="731838" y="527050"/>
            <a:ext cx="3175" cy="7938"/>
          </a:xfrm>
          <a:custGeom>
            <a:avLst/>
            <a:gdLst>
              <a:gd name="T0" fmla="*/ 5040313 w 2"/>
              <a:gd name="T1" fmla="*/ 5040630 h 5"/>
              <a:gd name="T2" fmla="*/ 5040313 w 2"/>
              <a:gd name="T3" fmla="*/ 5040630 h 5"/>
              <a:gd name="T4" fmla="*/ 0 w 2"/>
              <a:gd name="T5" fmla="*/ 0 h 5"/>
              <a:gd name="T6" fmla="*/ 0 w 2"/>
              <a:gd name="T7" fmla="*/ 5040630 h 5"/>
              <a:gd name="T8" fmla="*/ 0 w 2"/>
              <a:gd name="T9" fmla="*/ 5040630 h 5"/>
              <a:gd name="T10" fmla="*/ 5040313 w 2"/>
              <a:gd name="T11" fmla="*/ 12602369 h 5"/>
              <a:gd name="T12" fmla="*/ 5040313 w 2"/>
              <a:gd name="T13" fmla="*/ 5040630 h 5"/>
              <a:gd name="T14" fmla="*/ 5040313 w 2"/>
              <a:gd name="T15" fmla="*/ 5040630 h 5"/>
              <a:gd name="T16" fmla="*/ 0 w 2"/>
              <a:gd name="T17" fmla="*/ 0 h 5"/>
              <a:gd name="T18" fmla="*/ 0 w 2"/>
              <a:gd name="T19" fmla="*/ 5040630 h 5"/>
              <a:gd name="T20" fmla="*/ 0 w 2"/>
              <a:gd name="T21" fmla="*/ 5040630 h 5"/>
              <a:gd name="T22" fmla="*/ 5040313 w 2"/>
              <a:gd name="T23" fmla="*/ 12602369 h 5"/>
              <a:gd name="T24" fmla="*/ 5040313 w 2"/>
              <a:gd name="T25" fmla="*/ 504063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1255"/>
          <p:cNvSpPr>
            <a:spLocks/>
          </p:cNvSpPr>
          <p:nvPr/>
        </p:nvSpPr>
        <p:spPr bwMode="auto">
          <a:xfrm>
            <a:off x="712788" y="550863"/>
            <a:ext cx="3175" cy="1587"/>
          </a:xfrm>
          <a:custGeom>
            <a:avLst/>
            <a:gdLst>
              <a:gd name="T0" fmla="*/ 0 w 2"/>
              <a:gd name="T1" fmla="*/ 0 h 1587"/>
              <a:gd name="T2" fmla="*/ 5040313 w 2"/>
              <a:gd name="T3" fmla="*/ 0 h 1587"/>
              <a:gd name="T4" fmla="*/ 5040313 w 2"/>
              <a:gd name="T5" fmla="*/ 0 h 1587"/>
              <a:gd name="T6" fmla="*/ 5040313 w 2"/>
              <a:gd name="T7" fmla="*/ 0 h 1587"/>
              <a:gd name="T8" fmla="*/ 5040313 w 2"/>
              <a:gd name="T9" fmla="*/ 0 h 1587"/>
              <a:gd name="T10" fmla="*/ 0 w 2"/>
              <a:gd name="T11" fmla="*/ 0 h 1587"/>
              <a:gd name="T12" fmla="*/ 0 w 2"/>
              <a:gd name="T13" fmla="*/ 0 h 1587"/>
              <a:gd name="T14" fmla="*/ 0 w 2"/>
              <a:gd name="T15" fmla="*/ 0 h 1587"/>
              <a:gd name="T16" fmla="*/ 0 w 2"/>
              <a:gd name="T17" fmla="*/ 0 h 1587"/>
              <a:gd name="T18" fmla="*/ 5040313 w 2"/>
              <a:gd name="T19" fmla="*/ 0 h 1587"/>
              <a:gd name="T20" fmla="*/ 5040313 w 2"/>
              <a:gd name="T21" fmla="*/ 0 h 1587"/>
              <a:gd name="T22" fmla="*/ 5040313 w 2"/>
              <a:gd name="T23" fmla="*/ 0 h 1587"/>
              <a:gd name="T24" fmla="*/ 5040313 w 2"/>
              <a:gd name="T25" fmla="*/ 0 h 1587"/>
              <a:gd name="T26" fmla="*/ 5040313 w 2"/>
              <a:gd name="T27" fmla="*/ 0 h 1587"/>
              <a:gd name="T28" fmla="*/ 5040313 w 2"/>
              <a:gd name="T29" fmla="*/ 0 h 1587"/>
              <a:gd name="T30" fmla="*/ 5040313 w 2"/>
              <a:gd name="T31" fmla="*/ 0 h 1587"/>
              <a:gd name="T32" fmla="*/ 5040313 w 2"/>
              <a:gd name="T33" fmla="*/ 0 h 1587"/>
              <a:gd name="T34" fmla="*/ 5040313 w 2"/>
              <a:gd name="T35" fmla="*/ 0 h 1587"/>
              <a:gd name="T36" fmla="*/ 5040313 w 2"/>
              <a:gd name="T37" fmla="*/ 0 h 1587"/>
              <a:gd name="T38" fmla="*/ 5040313 w 2"/>
              <a:gd name="T39" fmla="*/ 0 h 1587"/>
              <a:gd name="T40" fmla="*/ 5040313 w 2"/>
              <a:gd name="T41" fmla="*/ 0 h 1587"/>
              <a:gd name="T42" fmla="*/ 5040313 w 2"/>
              <a:gd name="T43" fmla="*/ 0 h 1587"/>
              <a:gd name="T44" fmla="*/ 5040313 w 2"/>
              <a:gd name="T45" fmla="*/ 0 h 1587"/>
              <a:gd name="T46" fmla="*/ 5040313 w 2"/>
              <a:gd name="T47" fmla="*/ 0 h 1587"/>
              <a:gd name="T48" fmla="*/ 5040313 w 2"/>
              <a:gd name="T49" fmla="*/ 0 h 1587"/>
              <a:gd name="T50" fmla="*/ 5040313 w 2"/>
              <a:gd name="T51" fmla="*/ 0 h 1587"/>
              <a:gd name="T52" fmla="*/ 5040313 w 2"/>
              <a:gd name="T53" fmla="*/ 0 h 1587"/>
              <a:gd name="T54" fmla="*/ 5040313 w 2"/>
              <a:gd name="T55" fmla="*/ 0 h 1587"/>
              <a:gd name="T56" fmla="*/ 5040313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4"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1269"/>
          <p:cNvSpPr>
            <a:spLocks/>
          </p:cNvSpPr>
          <p:nvPr/>
        </p:nvSpPr>
        <p:spPr bwMode="auto">
          <a:xfrm>
            <a:off x="728663" y="530225"/>
            <a:ext cx="3175" cy="4763"/>
          </a:xfrm>
          <a:custGeom>
            <a:avLst/>
            <a:gdLst>
              <a:gd name="T0" fmla="*/ 0 w 2"/>
              <a:gd name="T1" fmla="*/ 7562056 h 3"/>
              <a:gd name="T2" fmla="*/ 5040313 w 2"/>
              <a:gd name="T3" fmla="*/ 0 h 3"/>
              <a:gd name="T4" fmla="*/ 5040313 w 2"/>
              <a:gd name="T5" fmla="*/ 0 h 3"/>
              <a:gd name="T6" fmla="*/ 5040313 w 2"/>
              <a:gd name="T7" fmla="*/ 0 h 3"/>
              <a:gd name="T8" fmla="*/ 5040313 w 2"/>
              <a:gd name="T9" fmla="*/ 0 h 3"/>
              <a:gd name="T10" fmla="*/ 0 w 2"/>
              <a:gd name="T11" fmla="*/ 0 h 3"/>
              <a:gd name="T12" fmla="*/ 0 w 2"/>
              <a:gd name="T13" fmla="*/ 0 h 3"/>
              <a:gd name="T14" fmla="*/ 0 w 2"/>
              <a:gd name="T15" fmla="*/ 7562056 h 3"/>
              <a:gd name="T16" fmla="*/ 0 w 2"/>
              <a:gd name="T17" fmla="*/ 7562056 h 3"/>
              <a:gd name="T18" fmla="*/ 5040313 w 2"/>
              <a:gd name="T19" fmla="*/ 0 h 3"/>
              <a:gd name="T20" fmla="*/ 5040313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7562056 h 3"/>
              <a:gd name="T40" fmla="*/ 0 w 2"/>
              <a:gd name="T41" fmla="*/ 756205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0"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1"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1277"/>
          <p:cNvSpPr>
            <a:spLocks/>
          </p:cNvSpPr>
          <p:nvPr/>
        </p:nvSpPr>
        <p:spPr bwMode="auto">
          <a:xfrm>
            <a:off x="728663" y="523875"/>
            <a:ext cx="1587" cy="3175"/>
          </a:xfrm>
          <a:custGeom>
            <a:avLst/>
            <a:gdLst>
              <a:gd name="T0" fmla="*/ 0 w 1587"/>
              <a:gd name="T1" fmla="*/ 5040313 h 2"/>
              <a:gd name="T2" fmla="*/ 0 w 1587"/>
              <a:gd name="T3" fmla="*/ 5040313 h 2"/>
              <a:gd name="T4" fmla="*/ 0 w 1587"/>
              <a:gd name="T5" fmla="*/ 0 h 2"/>
              <a:gd name="T6" fmla="*/ 0 w 1587"/>
              <a:gd name="T7" fmla="*/ 5040313 h 2"/>
              <a:gd name="T8" fmla="*/ 0 w 1587"/>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Freeform 1287"/>
          <p:cNvSpPr>
            <a:spLocks/>
          </p:cNvSpPr>
          <p:nvPr/>
        </p:nvSpPr>
        <p:spPr bwMode="auto">
          <a:xfrm>
            <a:off x="719138" y="514350"/>
            <a:ext cx="3175" cy="3175"/>
          </a:xfrm>
          <a:custGeom>
            <a:avLst/>
            <a:gdLst>
              <a:gd name="T0" fmla="*/ 0 w 2"/>
              <a:gd name="T1" fmla="*/ 0 h 2"/>
              <a:gd name="T2" fmla="*/ 0 w 2"/>
              <a:gd name="T3" fmla="*/ 5040313 h 2"/>
              <a:gd name="T4" fmla="*/ 5040313 w 2"/>
              <a:gd name="T5" fmla="*/ 5040313 h 2"/>
              <a:gd name="T6" fmla="*/ 5040313 w 2"/>
              <a:gd name="T7" fmla="*/ 5040313 h 2"/>
              <a:gd name="T8" fmla="*/ 5040313 w 2"/>
              <a:gd name="T9" fmla="*/ 5040313 h 2"/>
              <a:gd name="T10" fmla="*/ 5040313 w 2"/>
              <a:gd name="T11" fmla="*/ 0 h 2"/>
              <a:gd name="T12" fmla="*/ 0 w 2"/>
              <a:gd name="T13" fmla="*/ 0 h 2"/>
              <a:gd name="T14" fmla="*/ 0 w 2"/>
              <a:gd name="T15" fmla="*/ 0 h 2"/>
              <a:gd name="T16" fmla="*/ 0 w 2"/>
              <a:gd name="T17" fmla="*/ 5040313 h 2"/>
              <a:gd name="T18" fmla="*/ 0 w 2"/>
              <a:gd name="T19" fmla="*/ 5040313 h 2"/>
              <a:gd name="T20" fmla="*/ 0 w 2"/>
              <a:gd name="T21" fmla="*/ 5040313 h 2"/>
              <a:gd name="T22" fmla="*/ 0 w 2"/>
              <a:gd name="T23" fmla="*/ 5040313 h 2"/>
              <a:gd name="T24" fmla="*/ 5040313 w 2"/>
              <a:gd name="T25" fmla="*/ 5040313 h 2"/>
              <a:gd name="T26" fmla="*/ 5040313 w 2"/>
              <a:gd name="T27" fmla="*/ 5040313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Freeform 1290"/>
          <p:cNvSpPr>
            <a:spLocks/>
          </p:cNvSpPr>
          <p:nvPr/>
        </p:nvSpPr>
        <p:spPr bwMode="auto">
          <a:xfrm>
            <a:off x="719138" y="517525"/>
            <a:ext cx="3175" cy="3175"/>
          </a:xfrm>
          <a:custGeom>
            <a:avLst/>
            <a:gdLst>
              <a:gd name="T0" fmla="*/ 0 w 2"/>
              <a:gd name="T1" fmla="*/ 5040313 h 2"/>
              <a:gd name="T2" fmla="*/ 0 w 2"/>
              <a:gd name="T3" fmla="*/ 5040313 h 2"/>
              <a:gd name="T4" fmla="*/ 5040313 w 2"/>
              <a:gd name="T5" fmla="*/ 5040313 h 2"/>
              <a:gd name="T6" fmla="*/ 5040313 w 2"/>
              <a:gd name="T7" fmla="*/ 5040313 h 2"/>
              <a:gd name="T8" fmla="*/ 5040313 w 2"/>
              <a:gd name="T9" fmla="*/ 5040313 h 2"/>
              <a:gd name="T10" fmla="*/ 5040313 w 2"/>
              <a:gd name="T11" fmla="*/ 0 h 2"/>
              <a:gd name="T12" fmla="*/ 0 w 2"/>
              <a:gd name="T13" fmla="*/ 0 h 2"/>
              <a:gd name="T14" fmla="*/ 0 w 2"/>
              <a:gd name="T15" fmla="*/ 0 h 2"/>
              <a:gd name="T16" fmla="*/ 0 w 2"/>
              <a:gd name="T17" fmla="*/ 0 h 2"/>
              <a:gd name="T18" fmla="*/ 0 w 2"/>
              <a:gd name="T19" fmla="*/ 0 h 2"/>
              <a:gd name="T20" fmla="*/ 5040313 w 2"/>
              <a:gd name="T21" fmla="*/ 0 h 2"/>
              <a:gd name="T22" fmla="*/ 0 w 2"/>
              <a:gd name="T23" fmla="*/ 0 h 2"/>
              <a:gd name="T24" fmla="*/ 0 w 2"/>
              <a:gd name="T25" fmla="*/ 0 h 2"/>
              <a:gd name="T26" fmla="*/ 0 w 2"/>
              <a:gd name="T27" fmla="*/ 0 h 2"/>
              <a:gd name="T28" fmla="*/ 0 w 2"/>
              <a:gd name="T29" fmla="*/ 0 h 2"/>
              <a:gd name="T30" fmla="*/ 0 w 2"/>
              <a:gd name="T31" fmla="*/ 5040313 h 2"/>
              <a:gd name="T32" fmla="*/ 0 w 2"/>
              <a:gd name="T33" fmla="*/ 5040313 h 2"/>
              <a:gd name="T34" fmla="*/ 0 w 2"/>
              <a:gd name="T35" fmla="*/ 5040313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5040313 h 2"/>
              <a:gd name="T50" fmla="*/ 5040313 w 2"/>
              <a:gd name="T51" fmla="*/ 5040313 h 2"/>
              <a:gd name="T52" fmla="*/ 5040313 w 2"/>
              <a:gd name="T53" fmla="*/ 0 h 2"/>
              <a:gd name="T54" fmla="*/ 5040313 w 2"/>
              <a:gd name="T55" fmla="*/ 0 h 2"/>
              <a:gd name="T56" fmla="*/ 0 w 2"/>
              <a:gd name="T57" fmla="*/ 0 h 2"/>
              <a:gd name="T58" fmla="*/ 0 w 2"/>
              <a:gd name="T59" fmla="*/ 0 h 2"/>
              <a:gd name="T60" fmla="*/ 0 w 2"/>
              <a:gd name="T61" fmla="*/ 5040313 h 2"/>
              <a:gd name="T62" fmla="*/ 0 w 2"/>
              <a:gd name="T63" fmla="*/ 5040313 h 2"/>
              <a:gd name="T64" fmla="*/ 5040313 w 2"/>
              <a:gd name="T65" fmla="*/ 5040313 h 2"/>
              <a:gd name="T66" fmla="*/ 5040313 w 2"/>
              <a:gd name="T67" fmla="*/ 5040313 h 2"/>
              <a:gd name="T68" fmla="*/ 0 w 2"/>
              <a:gd name="T69" fmla="*/ 5040313 h 2"/>
              <a:gd name="T70" fmla="*/ 0 w 2"/>
              <a:gd name="T71" fmla="*/ 5040313 h 2"/>
              <a:gd name="T72" fmla="*/ 0 w 2"/>
              <a:gd name="T73" fmla="*/ 5040313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7"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63"/>
          <p:cNvSpPr>
            <a:spLocks noChangeArrowheads="1"/>
          </p:cNvSpPr>
          <p:nvPr/>
        </p:nvSpPr>
        <p:spPr bwMode="auto">
          <a:xfrm>
            <a:off x="0" y="4302125"/>
            <a:ext cx="9144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pic>
        <p:nvPicPr>
          <p:cNvPr id="6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1475" y="4916488"/>
            <a:ext cx="4141788" cy="82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6" name="Group 65"/>
          <p:cNvGrpSpPr>
            <a:grpSpLocks/>
          </p:cNvGrpSpPr>
          <p:nvPr userDrawn="1"/>
        </p:nvGrpSpPr>
        <p:grpSpPr bwMode="auto">
          <a:xfrm>
            <a:off x="371475" y="6269038"/>
            <a:ext cx="8224838" cy="260350"/>
            <a:chOff x="202219" y="1895846"/>
            <a:chExt cx="8223381" cy="261239"/>
          </a:xfrm>
        </p:grpSpPr>
        <p:sp>
          <p:nvSpPr>
            <p:cNvPr id="67" name="TextBox 66"/>
            <p:cNvSpPr txBox="1">
              <a:spLocks noChangeArrowheads="1"/>
            </p:cNvSpPr>
            <p:nvPr userDrawn="1"/>
          </p:nvSpPr>
          <p:spPr bwMode="auto">
            <a:xfrm>
              <a:off x="202219" y="1895846"/>
              <a:ext cx="8223381" cy="215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eaLnBrk="0" hangingPunct="0">
                <a:defRPr sz="1600" b="1">
                  <a:solidFill>
                    <a:schemeClr val="tx1"/>
                  </a:solidFill>
                  <a:latin typeface="Trebuchet MS" pitchFamily="34" charset="0"/>
                  <a:ea typeface="MS PGothic" pitchFamily="34" charset="-128"/>
                </a:defRPr>
              </a:lvl1pPr>
              <a:lvl2pPr marL="742950" indent="-285750" defTabSz="457200" eaLnBrk="0" hangingPunct="0">
                <a:defRPr sz="1600" b="1">
                  <a:solidFill>
                    <a:schemeClr val="tx1"/>
                  </a:solidFill>
                  <a:latin typeface="Trebuchet MS" pitchFamily="34" charset="0"/>
                  <a:ea typeface="MS PGothic" pitchFamily="34" charset="-128"/>
                </a:defRPr>
              </a:lvl2pPr>
              <a:lvl3pPr marL="1143000" indent="-228600" defTabSz="457200" eaLnBrk="0" hangingPunct="0">
                <a:defRPr sz="1600" b="1">
                  <a:solidFill>
                    <a:schemeClr val="tx1"/>
                  </a:solidFill>
                  <a:latin typeface="Trebuchet MS" pitchFamily="34" charset="0"/>
                  <a:ea typeface="MS PGothic" pitchFamily="34" charset="-128"/>
                </a:defRPr>
              </a:lvl3pPr>
              <a:lvl4pPr marL="1600200" indent="-228600" defTabSz="457200" eaLnBrk="0" hangingPunct="0">
                <a:defRPr sz="1600" b="1">
                  <a:solidFill>
                    <a:schemeClr val="tx1"/>
                  </a:solidFill>
                  <a:latin typeface="Trebuchet MS" pitchFamily="34" charset="0"/>
                  <a:ea typeface="MS PGothic" pitchFamily="34" charset="-128"/>
                </a:defRPr>
              </a:lvl4pPr>
              <a:lvl5pPr marL="2057400" indent="-228600" defTabSz="457200" eaLnBrk="0" hangingPunct="0">
                <a:defRPr sz="1600" b="1">
                  <a:solidFill>
                    <a:schemeClr val="tx1"/>
                  </a:solidFill>
                  <a:latin typeface="Trebuchet MS" pitchFamily="34" charset="0"/>
                  <a:ea typeface="MS PGothic" pitchFamily="34" charset="-128"/>
                </a:defRPr>
              </a:lvl5pPr>
              <a:lvl6pPr marL="25146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ts val="200"/>
                </a:spcBef>
                <a:defRPr/>
              </a:pPr>
              <a:r>
                <a:rPr lang="en-US" altLang="en-US" sz="1400" b="0" dirty="0">
                  <a:latin typeface="+mn-lt"/>
                </a:rPr>
                <a:t>www.worldbank.org/water  |  www.blogs.worldbank.org/water   |        @</a:t>
              </a:r>
              <a:r>
                <a:rPr lang="en-US" altLang="en-US" sz="1400" b="0" dirty="0" err="1">
                  <a:latin typeface="+mn-lt"/>
                </a:rPr>
                <a:t>WorldBankWater</a:t>
              </a:r>
              <a:endParaRPr lang="en-US" altLang="en-US" sz="1400" b="0" dirty="0">
                <a:latin typeface="+mn-lt"/>
              </a:endParaRPr>
            </a:p>
          </p:txBody>
        </p:sp>
        <p:pic>
          <p:nvPicPr>
            <p:cNvPr id="68" name="Picture 5" descr="http://www.clipartbest.com/cliparts/ace/KAn/aceKAnqBi.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282238" y="1919341"/>
              <a:ext cx="237744" cy="237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1" name="Title 329"/>
          <p:cNvSpPr>
            <a:spLocks noGrp="1"/>
          </p:cNvSpPr>
          <p:nvPr>
            <p:ph type="title"/>
          </p:nvPr>
        </p:nvSpPr>
        <p:spPr>
          <a:xfrm>
            <a:off x="1280160" y="1311122"/>
            <a:ext cx="6971806" cy="1107996"/>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72" name="Text Placeholder 331"/>
          <p:cNvSpPr>
            <a:spLocks noGrp="1"/>
          </p:cNvSpPr>
          <p:nvPr>
            <p:ph type="body" sz="quarter" idx="13"/>
          </p:nvPr>
        </p:nvSpPr>
        <p:spPr>
          <a:xfrm>
            <a:off x="1275797" y="2437317"/>
            <a:ext cx="6959257" cy="875885"/>
          </a:xfrm>
          <a:prstGeom prst="rect">
            <a:avLst/>
          </a:prstGeom>
        </p:spPr>
        <p:txBody>
          <a:bodyPr lIns="0" tIns="0" rIns="0" bIns="0"/>
          <a:lstStyle>
            <a:lvl1pPr>
              <a:lnSpc>
                <a:spcPct val="100000"/>
              </a:lnSpc>
              <a:spcBef>
                <a:spcPts val="0"/>
              </a:spcBef>
              <a:defRPr sz="2400" b="0" i="0" cap="none"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75" name="Text Placeholder 331"/>
          <p:cNvSpPr>
            <a:spLocks noGrp="1"/>
          </p:cNvSpPr>
          <p:nvPr>
            <p:ph type="body" sz="quarter" idx="15"/>
          </p:nvPr>
        </p:nvSpPr>
        <p:spPr>
          <a:xfrm>
            <a:off x="1275797" y="3717890"/>
            <a:ext cx="5606270" cy="593759"/>
          </a:xfrm>
          <a:prstGeom prst="rect">
            <a:avLst/>
          </a:prstGeom>
        </p:spPr>
        <p:txBody>
          <a:bodyPr lIns="0" tIns="0" rIns="0" bIns="0" anchor="t"/>
          <a:lstStyle>
            <a:lvl1pPr algn="l">
              <a:lnSpc>
                <a:spcPct val="100000"/>
              </a:lnSpc>
              <a:spcBef>
                <a:spcPts val="0"/>
              </a:spcBef>
              <a:defRPr sz="1500" b="0" i="0" baseline="0">
                <a:solidFill>
                  <a:schemeClr val="bg1"/>
                </a:solidFill>
                <a:latin typeface="Arial"/>
                <a:cs typeface="Arial"/>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Tree>
    <p:extLst>
      <p:ext uri="{BB962C8B-B14F-4D97-AF65-F5344CB8AC3E}">
        <p14:creationId xmlns:p14="http://schemas.microsoft.com/office/powerpoint/2010/main" val="530687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ark Blue Closing Slide">
    <p:spTree>
      <p:nvGrpSpPr>
        <p:cNvPr id="1" name=""/>
        <p:cNvGrpSpPr/>
        <p:nvPr/>
      </p:nvGrpSpPr>
      <p:grpSpPr>
        <a:xfrm>
          <a:off x="0" y="0"/>
          <a:ext cx="0" cy="0"/>
          <a:chOff x="0" y="0"/>
          <a:chExt cx="0" cy="0"/>
        </a:xfrm>
      </p:grpSpPr>
      <p:sp>
        <p:nvSpPr>
          <p:cNvPr id="3" name="Rectangle 5"/>
          <p:cNvSpPr>
            <a:spLocks noChangeArrowheads="1"/>
          </p:cNvSpPr>
          <p:nvPr/>
        </p:nvSpPr>
        <p:spPr bwMode="auto">
          <a:xfrm flipV="1">
            <a:off x="0" y="4487863"/>
            <a:ext cx="9144000" cy="2370137"/>
          </a:xfrm>
          <a:prstGeom prst="rect">
            <a:avLst/>
          </a:prstGeom>
          <a:solidFill>
            <a:schemeClr val="bg1"/>
          </a:solidFill>
          <a:ln>
            <a:noFill/>
          </a:ln>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 name="Rectangle 3"/>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8"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9" name="Freeform 1098"/>
          <p:cNvSpPr>
            <a:spLocks/>
          </p:cNvSpPr>
          <p:nvPr/>
        </p:nvSpPr>
        <p:spPr bwMode="auto">
          <a:xfrm>
            <a:off x="487363" y="617538"/>
            <a:ext cx="3175" cy="1587"/>
          </a:xfrm>
          <a:custGeom>
            <a:avLst/>
            <a:gdLst>
              <a:gd name="T0" fmla="*/ 0 w 2"/>
              <a:gd name="T1" fmla="*/ 0 h 1587"/>
              <a:gd name="T2" fmla="*/ 5040313 w 2"/>
              <a:gd name="T3" fmla="*/ 0 h 1587"/>
              <a:gd name="T4" fmla="*/ 5040313 w 2"/>
              <a:gd name="T5" fmla="*/ 0 h 1587"/>
              <a:gd name="T6" fmla="*/ 5040313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5040313 w 2"/>
              <a:gd name="T35" fmla="*/ 0 h 1587"/>
              <a:gd name="T36" fmla="*/ 5040313 w 2"/>
              <a:gd name="T37" fmla="*/ 0 h 1587"/>
              <a:gd name="T38" fmla="*/ 5040313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1115"/>
          <p:cNvSpPr>
            <a:spLocks/>
          </p:cNvSpPr>
          <p:nvPr/>
        </p:nvSpPr>
        <p:spPr bwMode="auto">
          <a:xfrm>
            <a:off x="458788" y="473075"/>
            <a:ext cx="3175" cy="3175"/>
          </a:xfrm>
          <a:custGeom>
            <a:avLst/>
            <a:gdLst>
              <a:gd name="T0" fmla="*/ 0 w 2"/>
              <a:gd name="T1" fmla="*/ 5040313 h 2"/>
              <a:gd name="T2" fmla="*/ 0 w 2"/>
              <a:gd name="T3" fmla="*/ 5040313 h 2"/>
              <a:gd name="T4" fmla="*/ 0 w 2"/>
              <a:gd name="T5" fmla="*/ 5040313 h 2"/>
              <a:gd name="T6" fmla="*/ 0 w 2"/>
              <a:gd name="T7" fmla="*/ 5040313 h 2"/>
              <a:gd name="T8" fmla="*/ 0 w 2"/>
              <a:gd name="T9" fmla="*/ 5040313 h 2"/>
              <a:gd name="T10" fmla="*/ 0 w 2"/>
              <a:gd name="T11" fmla="*/ 5040313 h 2"/>
              <a:gd name="T12" fmla="*/ 5040313 w 2"/>
              <a:gd name="T13" fmla="*/ 5040313 h 2"/>
              <a:gd name="T14" fmla="*/ 5040313 w 2"/>
              <a:gd name="T15" fmla="*/ 5040313 h 2"/>
              <a:gd name="T16" fmla="*/ 5040313 w 2"/>
              <a:gd name="T17" fmla="*/ 0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5040313 w 2"/>
              <a:gd name="T29" fmla="*/ 5040313 h 2"/>
              <a:gd name="T30" fmla="*/ 5040313 w 2"/>
              <a:gd name="T31" fmla="*/ 5040313 h 2"/>
              <a:gd name="T32" fmla="*/ 5040313 w 2"/>
              <a:gd name="T33" fmla="*/ 5040313 h 2"/>
              <a:gd name="T34" fmla="*/ 5040313 w 2"/>
              <a:gd name="T35" fmla="*/ 5040313 h 2"/>
              <a:gd name="T36" fmla="*/ 5040313 w 2"/>
              <a:gd name="T37" fmla="*/ 5040313 h 2"/>
              <a:gd name="T38" fmla="*/ 5040313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5040313 w 2"/>
              <a:gd name="T55" fmla="*/ 5040313 h 2"/>
              <a:gd name="T56" fmla="*/ 0 w 2"/>
              <a:gd name="T57" fmla="*/ 5040313 h 2"/>
              <a:gd name="T58" fmla="*/ 5040313 w 2"/>
              <a:gd name="T59" fmla="*/ 5040313 h 2"/>
              <a:gd name="T60" fmla="*/ 5040313 w 2"/>
              <a:gd name="T61" fmla="*/ 5040313 h 2"/>
              <a:gd name="T62" fmla="*/ 5040313 w 2"/>
              <a:gd name="T63" fmla="*/ 5040313 h 2"/>
              <a:gd name="T64" fmla="*/ 0 w 2"/>
              <a:gd name="T65" fmla="*/ 5040313 h 2"/>
              <a:gd name="T66" fmla="*/ 0 w 2"/>
              <a:gd name="T67" fmla="*/ 5040313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120"/>
          <p:cNvSpPr>
            <a:spLocks/>
          </p:cNvSpPr>
          <p:nvPr/>
        </p:nvSpPr>
        <p:spPr bwMode="auto">
          <a:xfrm>
            <a:off x="458788" y="463550"/>
            <a:ext cx="3175" cy="3175"/>
          </a:xfrm>
          <a:custGeom>
            <a:avLst/>
            <a:gdLst>
              <a:gd name="T0" fmla="*/ 0 w 2"/>
              <a:gd name="T1" fmla="*/ 0 h 2"/>
              <a:gd name="T2" fmla="*/ 0 w 2"/>
              <a:gd name="T3" fmla="*/ 5040313 h 2"/>
              <a:gd name="T4" fmla="*/ 0 w 2"/>
              <a:gd name="T5" fmla="*/ 5040313 h 2"/>
              <a:gd name="T6" fmla="*/ 0 w 2"/>
              <a:gd name="T7" fmla="*/ 5040313 h 2"/>
              <a:gd name="T8" fmla="*/ 5040313 w 2"/>
              <a:gd name="T9" fmla="*/ 5040313 h 2"/>
              <a:gd name="T10" fmla="*/ 5040313 w 2"/>
              <a:gd name="T11" fmla="*/ 0 h 2"/>
              <a:gd name="T12" fmla="*/ 5040313 w 2"/>
              <a:gd name="T13" fmla="*/ 0 h 2"/>
              <a:gd name="T14" fmla="*/ 5040313 w 2"/>
              <a:gd name="T15" fmla="*/ 0 h 2"/>
              <a:gd name="T16" fmla="*/ 0 w 2"/>
              <a:gd name="T17" fmla="*/ 0 h 2"/>
              <a:gd name="T18" fmla="*/ 0 w 2"/>
              <a:gd name="T19" fmla="*/ 5040313 h 2"/>
              <a:gd name="T20" fmla="*/ 0 w 2"/>
              <a:gd name="T21" fmla="*/ 5040313 h 2"/>
              <a:gd name="T22" fmla="*/ 5040313 w 2"/>
              <a:gd name="T23" fmla="*/ 0 h 2"/>
              <a:gd name="T24" fmla="*/ 5040313 w 2"/>
              <a:gd name="T25" fmla="*/ 0 h 2"/>
              <a:gd name="T26" fmla="*/ 5040313 w 2"/>
              <a:gd name="T27" fmla="*/ 0 h 2"/>
              <a:gd name="T28" fmla="*/ 5040313 w 2"/>
              <a:gd name="T29" fmla="*/ 5040313 h 2"/>
              <a:gd name="T30" fmla="*/ 0 w 2"/>
              <a:gd name="T31" fmla="*/ 5040313 h 2"/>
              <a:gd name="T32" fmla="*/ 0 w 2"/>
              <a:gd name="T33" fmla="*/ 5040313 h 2"/>
              <a:gd name="T34" fmla="*/ 0 w 2"/>
              <a:gd name="T35" fmla="*/ 5040313 h 2"/>
              <a:gd name="T36" fmla="*/ 0 w 2"/>
              <a:gd name="T37" fmla="*/ 5040313 h 2"/>
              <a:gd name="T38" fmla="*/ 0 w 2"/>
              <a:gd name="T39" fmla="*/ 5040313 h 2"/>
              <a:gd name="T40" fmla="*/ 0 w 2"/>
              <a:gd name="T41" fmla="*/ 5040313 h 2"/>
              <a:gd name="T42" fmla="*/ 0 w 2"/>
              <a:gd name="T43" fmla="*/ 5040313 h 2"/>
              <a:gd name="T44" fmla="*/ 0 w 2"/>
              <a:gd name="T45" fmla="*/ 5040313 h 2"/>
              <a:gd name="T46" fmla="*/ 5040313 w 2"/>
              <a:gd name="T47" fmla="*/ 5040313 h 2"/>
              <a:gd name="T48" fmla="*/ 0 w 2"/>
              <a:gd name="T49" fmla="*/ 5040313 h 2"/>
              <a:gd name="T50" fmla="*/ 0 w 2"/>
              <a:gd name="T51" fmla="*/ 5040313 h 2"/>
              <a:gd name="T52" fmla="*/ 5040313 w 2"/>
              <a:gd name="T53" fmla="*/ 5040313 h 2"/>
              <a:gd name="T54" fmla="*/ 5040313 w 2"/>
              <a:gd name="T55" fmla="*/ 5040313 h 2"/>
              <a:gd name="T56" fmla="*/ 5040313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34"/>
          <p:cNvSpPr>
            <a:spLocks/>
          </p:cNvSpPr>
          <p:nvPr/>
        </p:nvSpPr>
        <p:spPr bwMode="auto">
          <a:xfrm>
            <a:off x="703263" y="514350"/>
            <a:ext cx="3175" cy="6350"/>
          </a:xfrm>
          <a:custGeom>
            <a:avLst/>
            <a:gdLst>
              <a:gd name="T0" fmla="*/ 5040313 w 2"/>
              <a:gd name="T1" fmla="*/ 10080625 h 4"/>
              <a:gd name="T2" fmla="*/ 5040313 w 2"/>
              <a:gd name="T3" fmla="*/ 10080625 h 4"/>
              <a:gd name="T4" fmla="*/ 5040313 w 2"/>
              <a:gd name="T5" fmla="*/ 10080625 h 4"/>
              <a:gd name="T6" fmla="*/ 5040313 w 2"/>
              <a:gd name="T7" fmla="*/ 5040313 h 4"/>
              <a:gd name="T8" fmla="*/ 5040313 w 2"/>
              <a:gd name="T9" fmla="*/ 0 h 4"/>
              <a:gd name="T10" fmla="*/ 5040313 w 2"/>
              <a:gd name="T11" fmla="*/ 0 h 4"/>
              <a:gd name="T12" fmla="*/ 5040313 w 2"/>
              <a:gd name="T13" fmla="*/ 0 h 4"/>
              <a:gd name="T14" fmla="*/ 0 w 2"/>
              <a:gd name="T15" fmla="*/ 5040313 h 4"/>
              <a:gd name="T16" fmla="*/ 5040313 w 2"/>
              <a:gd name="T17" fmla="*/ 10080625 h 4"/>
              <a:gd name="T18" fmla="*/ 5040313 w 2"/>
              <a:gd name="T19" fmla="*/ 5040313 h 4"/>
              <a:gd name="T20" fmla="*/ 5040313 w 2"/>
              <a:gd name="T21" fmla="*/ 5040313 h 4"/>
              <a:gd name="T22" fmla="*/ 5040313 w 2"/>
              <a:gd name="T23" fmla="*/ 0 h 4"/>
              <a:gd name="T24" fmla="*/ 5040313 w 2"/>
              <a:gd name="T25" fmla="*/ 5040313 h 4"/>
              <a:gd name="T26" fmla="*/ 5040313 w 2"/>
              <a:gd name="T27" fmla="*/ 5040313 h 4"/>
              <a:gd name="T28" fmla="*/ 5040313 w 2"/>
              <a:gd name="T29" fmla="*/ 5040313 h 4"/>
              <a:gd name="T30" fmla="*/ 5040313 w 2"/>
              <a:gd name="T31" fmla="*/ 5040313 h 4"/>
              <a:gd name="T32" fmla="*/ 5040313 w 2"/>
              <a:gd name="T33" fmla="*/ 5040313 h 4"/>
              <a:gd name="T34" fmla="*/ 5040313 w 2"/>
              <a:gd name="T35" fmla="*/ 5040313 h 4"/>
              <a:gd name="T36" fmla="*/ 5040313 w 2"/>
              <a:gd name="T37" fmla="*/ 5040313 h 4"/>
              <a:gd name="T38" fmla="*/ 5040313 w 2"/>
              <a:gd name="T39" fmla="*/ 5040313 h 4"/>
              <a:gd name="T40" fmla="*/ 5040313 w 2"/>
              <a:gd name="T41" fmla="*/ 5040313 h 4"/>
              <a:gd name="T42" fmla="*/ 5040313 w 2"/>
              <a:gd name="T43" fmla="*/ 5040313 h 4"/>
              <a:gd name="T44" fmla="*/ 5040313 w 2"/>
              <a:gd name="T45" fmla="*/ 5040313 h 4"/>
              <a:gd name="T46" fmla="*/ 5040313 w 2"/>
              <a:gd name="T47" fmla="*/ 5040313 h 4"/>
              <a:gd name="T48" fmla="*/ 5040313 w 2"/>
              <a:gd name="T49" fmla="*/ 5040313 h 4"/>
              <a:gd name="T50" fmla="*/ 5040313 w 2"/>
              <a:gd name="T51" fmla="*/ 5040313 h 4"/>
              <a:gd name="T52" fmla="*/ 0 w 2"/>
              <a:gd name="T53" fmla="*/ 5040313 h 4"/>
              <a:gd name="T54" fmla="*/ 5040313 w 2"/>
              <a:gd name="T55" fmla="*/ 10080625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41"/>
          <p:cNvSpPr>
            <a:spLocks/>
          </p:cNvSpPr>
          <p:nvPr/>
        </p:nvSpPr>
        <p:spPr bwMode="auto">
          <a:xfrm>
            <a:off x="706438" y="479425"/>
            <a:ext cx="1587" cy="6350"/>
          </a:xfrm>
          <a:custGeom>
            <a:avLst/>
            <a:gdLst>
              <a:gd name="T0" fmla="*/ 0 w 1587"/>
              <a:gd name="T1" fmla="*/ 10080625 h 4"/>
              <a:gd name="T2" fmla="*/ 0 w 1587"/>
              <a:gd name="T3" fmla="*/ 5040313 h 4"/>
              <a:gd name="T4" fmla="*/ 0 w 1587"/>
              <a:gd name="T5" fmla="*/ 0 h 4"/>
              <a:gd name="T6" fmla="*/ 0 w 1587"/>
              <a:gd name="T7" fmla="*/ 0 h 4"/>
              <a:gd name="T8" fmla="*/ 0 w 1587"/>
              <a:gd name="T9" fmla="*/ 5040313 h 4"/>
              <a:gd name="T10" fmla="*/ 0 w 1587"/>
              <a:gd name="T11" fmla="*/ 5040313 h 4"/>
              <a:gd name="T12" fmla="*/ 0 w 1587"/>
              <a:gd name="T13" fmla="*/ 10080625 h 4"/>
              <a:gd name="T14" fmla="*/ 0 w 1587"/>
              <a:gd name="T15" fmla="*/ 5040313 h 4"/>
              <a:gd name="T16" fmla="*/ 0 w 1587"/>
              <a:gd name="T17" fmla="*/ 5040313 h 4"/>
              <a:gd name="T18" fmla="*/ 0 w 1587"/>
              <a:gd name="T19" fmla="*/ 5040313 h 4"/>
              <a:gd name="T20" fmla="*/ 0 w 1587"/>
              <a:gd name="T21" fmla="*/ 5040313 h 4"/>
              <a:gd name="T22" fmla="*/ 0 w 1587"/>
              <a:gd name="T23" fmla="*/ 5040313 h 4"/>
              <a:gd name="T24" fmla="*/ 0 w 1587"/>
              <a:gd name="T25" fmla="*/ 5040313 h 4"/>
              <a:gd name="T26" fmla="*/ 0 w 1587"/>
              <a:gd name="T27" fmla="*/ 5040313 h 4"/>
              <a:gd name="T28" fmla="*/ 0 w 1587"/>
              <a:gd name="T29" fmla="*/ 10080625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48"/>
          <p:cNvSpPr>
            <a:spLocks/>
          </p:cNvSpPr>
          <p:nvPr/>
        </p:nvSpPr>
        <p:spPr bwMode="auto">
          <a:xfrm>
            <a:off x="693738" y="460375"/>
            <a:ext cx="3175" cy="3175"/>
          </a:xfrm>
          <a:custGeom>
            <a:avLst/>
            <a:gdLst>
              <a:gd name="T0" fmla="*/ 5040313 w 2"/>
              <a:gd name="T1" fmla="*/ 5040313 h 2"/>
              <a:gd name="T2" fmla="*/ 5040313 w 2"/>
              <a:gd name="T3" fmla="*/ 0 h 2"/>
              <a:gd name="T4" fmla="*/ 5040313 w 2"/>
              <a:gd name="T5" fmla="*/ 0 h 2"/>
              <a:gd name="T6" fmla="*/ 5040313 w 2"/>
              <a:gd name="T7" fmla="*/ 0 h 2"/>
              <a:gd name="T8" fmla="*/ 5040313 w 2"/>
              <a:gd name="T9" fmla="*/ 0 h 2"/>
              <a:gd name="T10" fmla="*/ 0 w 2"/>
              <a:gd name="T11" fmla="*/ 0 h 2"/>
              <a:gd name="T12" fmla="*/ 0 w 2"/>
              <a:gd name="T13" fmla="*/ 0 h 2"/>
              <a:gd name="T14" fmla="*/ 0 w 2"/>
              <a:gd name="T15" fmla="*/ 5040313 h 2"/>
              <a:gd name="T16" fmla="*/ 0 w 2"/>
              <a:gd name="T17" fmla="*/ 5040313 h 2"/>
              <a:gd name="T18" fmla="*/ 0 w 2"/>
              <a:gd name="T19" fmla="*/ 5040313 h 2"/>
              <a:gd name="T20" fmla="*/ 5040313 w 2"/>
              <a:gd name="T21" fmla="*/ 5040313 h 2"/>
              <a:gd name="T22" fmla="*/ 5040313 w 2"/>
              <a:gd name="T23" fmla="*/ 5040313 h 2"/>
              <a:gd name="T24" fmla="*/ 5040313 w 2"/>
              <a:gd name="T25" fmla="*/ 0 h 2"/>
              <a:gd name="T26" fmla="*/ 5040313 w 2"/>
              <a:gd name="T27" fmla="*/ 0 h 2"/>
              <a:gd name="T28" fmla="*/ 5040313 w 2"/>
              <a:gd name="T29" fmla="*/ 0 h 2"/>
              <a:gd name="T30" fmla="*/ 0 w 2"/>
              <a:gd name="T31" fmla="*/ 5040313 h 2"/>
              <a:gd name="T32" fmla="*/ 5040313 w 2"/>
              <a:gd name="T33" fmla="*/ 5040313 h 2"/>
              <a:gd name="T34" fmla="*/ 5040313 w 2"/>
              <a:gd name="T35" fmla="*/ 0 h 2"/>
              <a:gd name="T36" fmla="*/ 0 w 2"/>
              <a:gd name="T37" fmla="*/ 5040313 h 2"/>
              <a:gd name="T38" fmla="*/ 5040313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0 w 2"/>
              <a:gd name="T55" fmla="*/ 5040313 h 2"/>
              <a:gd name="T56" fmla="*/ 0 w 2"/>
              <a:gd name="T57" fmla="*/ 5040313 h 2"/>
              <a:gd name="T58" fmla="*/ 5040313 w 2"/>
              <a:gd name="T59" fmla="*/ 5040313 h 2"/>
              <a:gd name="T60" fmla="*/ 5040313 w 2"/>
              <a:gd name="T61" fmla="*/ 5040313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50"/>
          <p:cNvSpPr>
            <a:spLocks/>
          </p:cNvSpPr>
          <p:nvPr/>
        </p:nvSpPr>
        <p:spPr bwMode="auto">
          <a:xfrm>
            <a:off x="684213" y="447675"/>
            <a:ext cx="1587" cy="3175"/>
          </a:xfrm>
          <a:custGeom>
            <a:avLst/>
            <a:gdLst>
              <a:gd name="T0" fmla="*/ 0 w 1587"/>
              <a:gd name="T1" fmla="*/ 5040313 h 2"/>
              <a:gd name="T2" fmla="*/ 0 w 1587"/>
              <a:gd name="T3" fmla="*/ 0 h 2"/>
              <a:gd name="T4" fmla="*/ 0 w 1587"/>
              <a:gd name="T5" fmla="*/ 5040313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52"/>
          <p:cNvSpPr>
            <a:spLocks/>
          </p:cNvSpPr>
          <p:nvPr/>
        </p:nvSpPr>
        <p:spPr bwMode="auto">
          <a:xfrm>
            <a:off x="684213" y="447675"/>
            <a:ext cx="3175" cy="3175"/>
          </a:xfrm>
          <a:custGeom>
            <a:avLst/>
            <a:gdLst>
              <a:gd name="T0" fmla="*/ 5040313 w 2"/>
              <a:gd name="T1" fmla="*/ 0 h 2"/>
              <a:gd name="T2" fmla="*/ 0 w 2"/>
              <a:gd name="T3" fmla="*/ 0 h 2"/>
              <a:gd name="T4" fmla="*/ 0 w 2"/>
              <a:gd name="T5" fmla="*/ 0 h 2"/>
              <a:gd name="T6" fmla="*/ 0 w 2"/>
              <a:gd name="T7" fmla="*/ 0 h 2"/>
              <a:gd name="T8" fmla="*/ 0 w 2"/>
              <a:gd name="T9" fmla="*/ 5040313 h 2"/>
              <a:gd name="T10" fmla="*/ 5040313 w 2"/>
              <a:gd name="T11" fmla="*/ 5040313 h 2"/>
              <a:gd name="T12" fmla="*/ 5040313 w 2"/>
              <a:gd name="T13" fmla="*/ 0 h 2"/>
              <a:gd name="T14" fmla="*/ 0 w 2"/>
              <a:gd name="T15" fmla="*/ 0 h 2"/>
              <a:gd name="T16" fmla="*/ 0 w 2"/>
              <a:gd name="T17" fmla="*/ 0 h 2"/>
              <a:gd name="T18" fmla="*/ 0 w 2"/>
              <a:gd name="T19" fmla="*/ 0 h 2"/>
              <a:gd name="T20" fmla="*/ 0 w 2"/>
              <a:gd name="T21" fmla="*/ 5040313 h 2"/>
              <a:gd name="T22" fmla="*/ 5040313 w 2"/>
              <a:gd name="T23" fmla="*/ 5040313 h 2"/>
              <a:gd name="T24" fmla="*/ 5040313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4"/>
          <p:cNvSpPr>
            <a:spLocks/>
          </p:cNvSpPr>
          <p:nvPr/>
        </p:nvSpPr>
        <p:spPr bwMode="auto">
          <a:xfrm>
            <a:off x="665163" y="434975"/>
            <a:ext cx="3175" cy="1588"/>
          </a:xfrm>
          <a:custGeom>
            <a:avLst/>
            <a:gdLst>
              <a:gd name="T0" fmla="*/ 5040313 w 2"/>
              <a:gd name="T1" fmla="*/ 0 h 1588"/>
              <a:gd name="T2" fmla="*/ 0 w 2"/>
              <a:gd name="T3" fmla="*/ 0 h 1588"/>
              <a:gd name="T4" fmla="*/ 5040313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6"/>
          <p:cNvSpPr>
            <a:spLocks/>
          </p:cNvSpPr>
          <p:nvPr/>
        </p:nvSpPr>
        <p:spPr bwMode="auto">
          <a:xfrm>
            <a:off x="665163" y="431800"/>
            <a:ext cx="3175" cy="3175"/>
          </a:xfrm>
          <a:custGeom>
            <a:avLst/>
            <a:gdLst>
              <a:gd name="T0" fmla="*/ 5040313 w 2"/>
              <a:gd name="T1" fmla="*/ 5040313 h 2"/>
              <a:gd name="T2" fmla="*/ 0 w 2"/>
              <a:gd name="T3" fmla="*/ 0 h 2"/>
              <a:gd name="T4" fmla="*/ 0 w 2"/>
              <a:gd name="T5" fmla="*/ 0 h 2"/>
              <a:gd name="T6" fmla="*/ 0 w 2"/>
              <a:gd name="T7" fmla="*/ 5040313 h 2"/>
              <a:gd name="T8" fmla="*/ 5040313 w 2"/>
              <a:gd name="T9" fmla="*/ 5040313 h 2"/>
              <a:gd name="T10" fmla="*/ 5040313 w 2"/>
              <a:gd name="T11" fmla="*/ 5040313 h 2"/>
              <a:gd name="T12" fmla="*/ 5040313 w 2"/>
              <a:gd name="T13" fmla="*/ 5040313 h 2"/>
              <a:gd name="T14" fmla="*/ 0 w 2"/>
              <a:gd name="T15" fmla="*/ 0 h 2"/>
              <a:gd name="T16" fmla="*/ 0 w 2"/>
              <a:gd name="T17" fmla="*/ 0 h 2"/>
              <a:gd name="T18" fmla="*/ 0 w 2"/>
              <a:gd name="T19" fmla="*/ 5040313 h 2"/>
              <a:gd name="T20" fmla="*/ 5040313 w 2"/>
              <a:gd name="T21" fmla="*/ 5040313 h 2"/>
              <a:gd name="T22" fmla="*/ 5040313 w 2"/>
              <a:gd name="T23" fmla="*/ 5040313 h 2"/>
              <a:gd name="T24" fmla="*/ 5040313 w 2"/>
              <a:gd name="T25" fmla="*/ 5040313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63"/>
          <p:cNvSpPr>
            <a:spLocks/>
          </p:cNvSpPr>
          <p:nvPr/>
        </p:nvSpPr>
        <p:spPr bwMode="auto">
          <a:xfrm>
            <a:off x="611188" y="415925"/>
            <a:ext cx="6350" cy="3175"/>
          </a:xfrm>
          <a:custGeom>
            <a:avLst/>
            <a:gdLst>
              <a:gd name="T0" fmla="*/ 5040313 w 4"/>
              <a:gd name="T1" fmla="*/ 5040313 h 2"/>
              <a:gd name="T2" fmla="*/ 5040313 w 4"/>
              <a:gd name="T3" fmla="*/ 5040313 h 2"/>
              <a:gd name="T4" fmla="*/ 10080625 w 4"/>
              <a:gd name="T5" fmla="*/ 5040313 h 2"/>
              <a:gd name="T6" fmla="*/ 10080625 w 4"/>
              <a:gd name="T7" fmla="*/ 0 h 2"/>
              <a:gd name="T8" fmla="*/ 10080625 w 4"/>
              <a:gd name="T9" fmla="*/ 0 h 2"/>
              <a:gd name="T10" fmla="*/ 5040313 w 4"/>
              <a:gd name="T11" fmla="*/ 0 h 2"/>
              <a:gd name="T12" fmla="*/ 5040313 w 4"/>
              <a:gd name="T13" fmla="*/ 0 h 2"/>
              <a:gd name="T14" fmla="*/ 0 w 4"/>
              <a:gd name="T15" fmla="*/ 5040313 h 2"/>
              <a:gd name="T16" fmla="*/ 5040313 w 4"/>
              <a:gd name="T17" fmla="*/ 5040313 h 2"/>
              <a:gd name="T18" fmla="*/ 5040313 w 4"/>
              <a:gd name="T19" fmla="*/ 0 h 2"/>
              <a:gd name="T20" fmla="*/ 10080625 w 4"/>
              <a:gd name="T21" fmla="*/ 5040313 h 2"/>
              <a:gd name="T22" fmla="*/ 10080625 w 4"/>
              <a:gd name="T23" fmla="*/ 0 h 2"/>
              <a:gd name="T24" fmla="*/ 10080625 w 4"/>
              <a:gd name="T25" fmla="*/ 0 h 2"/>
              <a:gd name="T26" fmla="*/ 5040313 w 4"/>
              <a:gd name="T27" fmla="*/ 0 h 2"/>
              <a:gd name="T28" fmla="*/ 5040313 w 4"/>
              <a:gd name="T29" fmla="*/ 0 h 2"/>
              <a:gd name="T30" fmla="*/ 0 w 4"/>
              <a:gd name="T31" fmla="*/ 0 h 2"/>
              <a:gd name="T32" fmla="*/ 5040313 w 4"/>
              <a:gd name="T33" fmla="*/ 5040313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72"/>
          <p:cNvSpPr>
            <a:spLocks/>
          </p:cNvSpPr>
          <p:nvPr/>
        </p:nvSpPr>
        <p:spPr bwMode="auto">
          <a:xfrm>
            <a:off x="582613" y="476250"/>
            <a:ext cx="3175" cy="3175"/>
          </a:xfrm>
          <a:custGeom>
            <a:avLst/>
            <a:gdLst>
              <a:gd name="T0" fmla="*/ 0 w 2"/>
              <a:gd name="T1" fmla="*/ 5040313 h 2"/>
              <a:gd name="T2" fmla="*/ 0 w 2"/>
              <a:gd name="T3" fmla="*/ 5040313 h 2"/>
              <a:gd name="T4" fmla="*/ 5040313 w 2"/>
              <a:gd name="T5" fmla="*/ 5040313 h 2"/>
              <a:gd name="T6" fmla="*/ 0 w 2"/>
              <a:gd name="T7" fmla="*/ 0 h 2"/>
              <a:gd name="T8" fmla="*/ 0 w 2"/>
              <a:gd name="T9" fmla="*/ 0 h 2"/>
              <a:gd name="T10" fmla="*/ 0 w 2"/>
              <a:gd name="T11" fmla="*/ 0 h 2"/>
              <a:gd name="T12" fmla="*/ 0 w 2"/>
              <a:gd name="T13" fmla="*/ 5040313 h 2"/>
              <a:gd name="T14" fmla="*/ 0 w 2"/>
              <a:gd name="T15" fmla="*/ 5040313 h 2"/>
              <a:gd name="T16" fmla="*/ 0 w 2"/>
              <a:gd name="T17" fmla="*/ 5040313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0 w 2"/>
              <a:gd name="T29" fmla="*/ 5040313 h 2"/>
              <a:gd name="T30" fmla="*/ 0 w 2"/>
              <a:gd name="T31" fmla="*/ 5040313 h 2"/>
              <a:gd name="T32" fmla="*/ 0 w 2"/>
              <a:gd name="T33" fmla="*/ 5040313 h 2"/>
              <a:gd name="T34" fmla="*/ 0 w 2"/>
              <a:gd name="T35" fmla="*/ 5040313 h 2"/>
              <a:gd name="T36" fmla="*/ 0 w 2"/>
              <a:gd name="T37" fmla="*/ 5040313 h 2"/>
              <a:gd name="T38" fmla="*/ 0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0 w 2"/>
              <a:gd name="T55" fmla="*/ 5040313 h 2"/>
              <a:gd name="T56" fmla="*/ 0 w 2"/>
              <a:gd name="T57" fmla="*/ 5040313 h 2"/>
              <a:gd name="T58" fmla="*/ 0 w 2"/>
              <a:gd name="T59" fmla="*/ 5040313 h 2"/>
              <a:gd name="T60" fmla="*/ 0 w 2"/>
              <a:gd name="T61" fmla="*/ 5040313 h 2"/>
              <a:gd name="T62" fmla="*/ 0 w 2"/>
              <a:gd name="T63" fmla="*/ 5040313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77"/>
          <p:cNvSpPr>
            <a:spLocks/>
          </p:cNvSpPr>
          <p:nvPr/>
        </p:nvSpPr>
        <p:spPr bwMode="auto">
          <a:xfrm>
            <a:off x="557213" y="534988"/>
            <a:ext cx="3175" cy="3175"/>
          </a:xfrm>
          <a:custGeom>
            <a:avLst/>
            <a:gdLst>
              <a:gd name="T0" fmla="*/ 0 w 2"/>
              <a:gd name="T1" fmla="*/ 5040313 h 2"/>
              <a:gd name="T2" fmla="*/ 5040313 w 2"/>
              <a:gd name="T3" fmla="*/ 5040313 h 2"/>
              <a:gd name="T4" fmla="*/ 5040313 w 2"/>
              <a:gd name="T5" fmla="*/ 5040313 h 2"/>
              <a:gd name="T6" fmla="*/ 5040313 w 2"/>
              <a:gd name="T7" fmla="*/ 0 h 2"/>
              <a:gd name="T8" fmla="*/ 5040313 w 2"/>
              <a:gd name="T9" fmla="*/ 0 h 2"/>
              <a:gd name="T10" fmla="*/ 5040313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5040313 h 2"/>
              <a:gd name="T40" fmla="*/ 0 w 2"/>
              <a:gd name="T41" fmla="*/ 5040313 h 2"/>
              <a:gd name="T42" fmla="*/ 5040313 w 2"/>
              <a:gd name="T43" fmla="*/ 5040313 h 2"/>
              <a:gd name="T44" fmla="*/ 5040313 w 2"/>
              <a:gd name="T45" fmla="*/ 0 h 2"/>
              <a:gd name="T46" fmla="*/ 5040313 w 2"/>
              <a:gd name="T47" fmla="*/ 0 h 2"/>
              <a:gd name="T48" fmla="*/ 5040313 w 2"/>
              <a:gd name="T49" fmla="*/ 0 h 2"/>
              <a:gd name="T50" fmla="*/ 5040313 w 2"/>
              <a:gd name="T51" fmla="*/ 0 h 2"/>
              <a:gd name="T52" fmla="*/ 5040313 w 2"/>
              <a:gd name="T53" fmla="*/ 0 h 2"/>
              <a:gd name="T54" fmla="*/ 5040313 w 2"/>
              <a:gd name="T55" fmla="*/ 0 h 2"/>
              <a:gd name="T56" fmla="*/ 5040313 w 2"/>
              <a:gd name="T57" fmla="*/ 0 h 2"/>
              <a:gd name="T58" fmla="*/ 5040313 w 2"/>
              <a:gd name="T59" fmla="*/ 0 h 2"/>
              <a:gd name="T60" fmla="*/ 5040313 w 2"/>
              <a:gd name="T61" fmla="*/ 0 h 2"/>
              <a:gd name="T62" fmla="*/ 5040313 w 2"/>
              <a:gd name="T63" fmla="*/ 0 h 2"/>
              <a:gd name="T64" fmla="*/ 5040313 w 2"/>
              <a:gd name="T65" fmla="*/ 0 h 2"/>
              <a:gd name="T66" fmla="*/ 5040313 w 2"/>
              <a:gd name="T67" fmla="*/ 5040313 h 2"/>
              <a:gd name="T68" fmla="*/ 5040313 w 2"/>
              <a:gd name="T69" fmla="*/ 0 h 2"/>
              <a:gd name="T70" fmla="*/ 5040313 w 2"/>
              <a:gd name="T71" fmla="*/ 0 h 2"/>
              <a:gd name="T72" fmla="*/ 0 w 2"/>
              <a:gd name="T73" fmla="*/ 0 h 2"/>
              <a:gd name="T74" fmla="*/ 0 w 2"/>
              <a:gd name="T75" fmla="*/ 0 h 2"/>
              <a:gd name="T76" fmla="*/ 0 w 2"/>
              <a:gd name="T77" fmla="*/ 5040313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80"/>
          <p:cNvSpPr>
            <a:spLocks/>
          </p:cNvSpPr>
          <p:nvPr/>
        </p:nvSpPr>
        <p:spPr bwMode="auto">
          <a:xfrm>
            <a:off x="560388" y="530225"/>
            <a:ext cx="3175" cy="4763"/>
          </a:xfrm>
          <a:custGeom>
            <a:avLst/>
            <a:gdLst>
              <a:gd name="T0" fmla="*/ 0 w 2"/>
              <a:gd name="T1" fmla="*/ 7562056 h 3"/>
              <a:gd name="T2" fmla="*/ 0 w 2"/>
              <a:gd name="T3" fmla="*/ 7562056 h 3"/>
              <a:gd name="T4" fmla="*/ 5040313 w 2"/>
              <a:gd name="T5" fmla="*/ 7562056 h 3"/>
              <a:gd name="T6" fmla="*/ 5040313 w 2"/>
              <a:gd name="T7" fmla="*/ 7562056 h 3"/>
              <a:gd name="T8" fmla="*/ 0 w 2"/>
              <a:gd name="T9" fmla="*/ 0 h 3"/>
              <a:gd name="T10" fmla="*/ 0 w 2"/>
              <a:gd name="T11" fmla="*/ 0 h 3"/>
              <a:gd name="T12" fmla="*/ 0 w 2"/>
              <a:gd name="T13" fmla="*/ 0 h 3"/>
              <a:gd name="T14" fmla="*/ 0 w 2"/>
              <a:gd name="T15" fmla="*/ 7562056 h 3"/>
              <a:gd name="T16" fmla="*/ 0 w 2"/>
              <a:gd name="T17" fmla="*/ 7562056 h 3"/>
              <a:gd name="T18" fmla="*/ 0 w 2"/>
              <a:gd name="T19" fmla="*/ 7562056 h 3"/>
              <a:gd name="T20" fmla="*/ 0 w 2"/>
              <a:gd name="T21" fmla="*/ 7562056 h 3"/>
              <a:gd name="T22" fmla="*/ 0 w 2"/>
              <a:gd name="T23" fmla="*/ 0 h 3"/>
              <a:gd name="T24" fmla="*/ 0 w 2"/>
              <a:gd name="T25" fmla="*/ 7562056 h 3"/>
              <a:gd name="T26" fmla="*/ 0 w 2"/>
              <a:gd name="T27" fmla="*/ 7562056 h 3"/>
              <a:gd name="T28" fmla="*/ 0 w 2"/>
              <a:gd name="T29" fmla="*/ 7562056 h 3"/>
              <a:gd name="T30" fmla="*/ 0 w 2"/>
              <a:gd name="T31" fmla="*/ 7562056 h 3"/>
              <a:gd name="T32" fmla="*/ 0 w 2"/>
              <a:gd name="T33" fmla="*/ 7562056 h 3"/>
              <a:gd name="T34" fmla="*/ 0 w 2"/>
              <a:gd name="T35" fmla="*/ 7562056 h 3"/>
              <a:gd name="T36" fmla="*/ 0 w 2"/>
              <a:gd name="T37" fmla="*/ 7562056 h 3"/>
              <a:gd name="T38" fmla="*/ 0 w 2"/>
              <a:gd name="T39" fmla="*/ 7562056 h 3"/>
              <a:gd name="T40" fmla="*/ 0 w 2"/>
              <a:gd name="T41" fmla="*/ 7562056 h 3"/>
              <a:gd name="T42" fmla="*/ 0 w 2"/>
              <a:gd name="T43" fmla="*/ 7562056 h 3"/>
              <a:gd name="T44" fmla="*/ 0 w 2"/>
              <a:gd name="T45" fmla="*/ 7562056 h 3"/>
              <a:gd name="T46" fmla="*/ 0 w 2"/>
              <a:gd name="T47" fmla="*/ 7562056 h 3"/>
              <a:gd name="T48" fmla="*/ 0 w 2"/>
              <a:gd name="T49" fmla="*/ 7562056 h 3"/>
              <a:gd name="T50" fmla="*/ 0 w 2"/>
              <a:gd name="T51" fmla="*/ 7562056 h 3"/>
              <a:gd name="T52" fmla="*/ 0 w 2"/>
              <a:gd name="T53" fmla="*/ 756205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1210"/>
          <p:cNvSpPr>
            <a:spLocks/>
          </p:cNvSpPr>
          <p:nvPr/>
        </p:nvSpPr>
        <p:spPr bwMode="auto">
          <a:xfrm>
            <a:off x="595313" y="557213"/>
            <a:ext cx="3175" cy="3175"/>
          </a:xfrm>
          <a:custGeom>
            <a:avLst/>
            <a:gdLst>
              <a:gd name="T0" fmla="*/ 0 w 2"/>
              <a:gd name="T1" fmla="*/ 5040313 h 2"/>
              <a:gd name="T2" fmla="*/ 0 w 2"/>
              <a:gd name="T3" fmla="*/ 5040313 h 2"/>
              <a:gd name="T4" fmla="*/ 5040313 w 2"/>
              <a:gd name="T5" fmla="*/ 5040313 h 2"/>
              <a:gd name="T6" fmla="*/ 5040313 w 2"/>
              <a:gd name="T7" fmla="*/ 0 h 2"/>
              <a:gd name="T8" fmla="*/ 5040313 w 2"/>
              <a:gd name="T9" fmla="*/ 0 h 2"/>
              <a:gd name="T10" fmla="*/ 0 w 2"/>
              <a:gd name="T11" fmla="*/ 0 h 2"/>
              <a:gd name="T12" fmla="*/ 0 w 2"/>
              <a:gd name="T13" fmla="*/ 0 h 2"/>
              <a:gd name="T14" fmla="*/ 0 w 2"/>
              <a:gd name="T15" fmla="*/ 0 h 2"/>
              <a:gd name="T16" fmla="*/ 0 w 2"/>
              <a:gd name="T17" fmla="*/ 5040313 h 2"/>
              <a:gd name="T18" fmla="*/ 0 w 2"/>
              <a:gd name="T19" fmla="*/ 5040313 h 2"/>
              <a:gd name="T20" fmla="*/ 5040313 w 2"/>
              <a:gd name="T21" fmla="*/ 5040313 h 2"/>
              <a:gd name="T22" fmla="*/ 5040313 w 2"/>
              <a:gd name="T23" fmla="*/ 0 h 2"/>
              <a:gd name="T24" fmla="*/ 5040313 w 2"/>
              <a:gd name="T25" fmla="*/ 0 h 2"/>
              <a:gd name="T26" fmla="*/ 0 w 2"/>
              <a:gd name="T27" fmla="*/ 0 h 2"/>
              <a:gd name="T28" fmla="*/ 0 w 2"/>
              <a:gd name="T29" fmla="*/ 0 h 2"/>
              <a:gd name="T30" fmla="*/ 0 w 2"/>
              <a:gd name="T31" fmla="*/ 0 h 2"/>
              <a:gd name="T32" fmla="*/ 0 w 2"/>
              <a:gd name="T33" fmla="*/ 5040313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214"/>
          <p:cNvSpPr>
            <a:spLocks/>
          </p:cNvSpPr>
          <p:nvPr/>
        </p:nvSpPr>
        <p:spPr bwMode="auto">
          <a:xfrm>
            <a:off x="595313" y="557213"/>
            <a:ext cx="3175" cy="3175"/>
          </a:xfrm>
          <a:custGeom>
            <a:avLst/>
            <a:gdLst>
              <a:gd name="T0" fmla="*/ 0 w 2"/>
              <a:gd name="T1" fmla="*/ 5040313 h 2"/>
              <a:gd name="T2" fmla="*/ 5040313 w 2"/>
              <a:gd name="T3" fmla="*/ 5040313 h 2"/>
              <a:gd name="T4" fmla="*/ 0 w 2"/>
              <a:gd name="T5" fmla="*/ 0 h 2"/>
              <a:gd name="T6" fmla="*/ 0 w 2"/>
              <a:gd name="T7" fmla="*/ 5040313 h 2"/>
              <a:gd name="T8" fmla="*/ 0 w 2"/>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29"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1221"/>
          <p:cNvSpPr>
            <a:spLocks/>
          </p:cNvSpPr>
          <p:nvPr/>
        </p:nvSpPr>
        <p:spPr bwMode="auto">
          <a:xfrm>
            <a:off x="731838" y="541338"/>
            <a:ext cx="3175" cy="3175"/>
          </a:xfrm>
          <a:custGeom>
            <a:avLst/>
            <a:gdLst>
              <a:gd name="T0" fmla="*/ 5040313 w 2"/>
              <a:gd name="T1" fmla="*/ 0 h 2"/>
              <a:gd name="T2" fmla="*/ 5040313 w 2"/>
              <a:gd name="T3" fmla="*/ 0 h 2"/>
              <a:gd name="T4" fmla="*/ 5040313 w 2"/>
              <a:gd name="T5" fmla="*/ 0 h 2"/>
              <a:gd name="T6" fmla="*/ 0 w 2"/>
              <a:gd name="T7" fmla="*/ 0 h 2"/>
              <a:gd name="T8" fmla="*/ 0 w 2"/>
              <a:gd name="T9" fmla="*/ 0 h 2"/>
              <a:gd name="T10" fmla="*/ 0 w 2"/>
              <a:gd name="T11" fmla="*/ 5040313 h 2"/>
              <a:gd name="T12" fmla="*/ 5040313 w 2"/>
              <a:gd name="T13" fmla="*/ 0 h 2"/>
              <a:gd name="T14" fmla="*/ 5040313 w 2"/>
              <a:gd name="T15" fmla="*/ 0 h 2"/>
              <a:gd name="T16" fmla="*/ 5040313 w 2"/>
              <a:gd name="T17" fmla="*/ 0 h 2"/>
              <a:gd name="T18" fmla="*/ 0 w 2"/>
              <a:gd name="T19" fmla="*/ 0 h 2"/>
              <a:gd name="T20" fmla="*/ 0 w 2"/>
              <a:gd name="T21" fmla="*/ 0 h 2"/>
              <a:gd name="T22" fmla="*/ 0 w 2"/>
              <a:gd name="T23" fmla="*/ 5040313 h 2"/>
              <a:gd name="T24" fmla="*/ 5040313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34"/>
          <p:cNvSpPr>
            <a:spLocks/>
          </p:cNvSpPr>
          <p:nvPr/>
        </p:nvSpPr>
        <p:spPr bwMode="auto">
          <a:xfrm>
            <a:off x="722313" y="550863"/>
            <a:ext cx="3175" cy="1587"/>
          </a:xfrm>
          <a:custGeom>
            <a:avLst/>
            <a:gdLst>
              <a:gd name="T0" fmla="*/ 0 w 2"/>
              <a:gd name="T1" fmla="*/ 0 h 1587"/>
              <a:gd name="T2" fmla="*/ 0 w 2"/>
              <a:gd name="T3" fmla="*/ 0 h 1587"/>
              <a:gd name="T4" fmla="*/ 5040313 w 2"/>
              <a:gd name="T5" fmla="*/ 0 h 1587"/>
              <a:gd name="T6" fmla="*/ 5040313 w 2"/>
              <a:gd name="T7" fmla="*/ 0 h 1587"/>
              <a:gd name="T8" fmla="*/ 5040313 w 2"/>
              <a:gd name="T9" fmla="*/ 0 h 1587"/>
              <a:gd name="T10" fmla="*/ 5040313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5040313 w 2"/>
              <a:gd name="T25" fmla="*/ 0 h 1587"/>
              <a:gd name="T26" fmla="*/ 5040313 w 2"/>
              <a:gd name="T27" fmla="*/ 0 h 1587"/>
              <a:gd name="T28" fmla="*/ 5040313 w 2"/>
              <a:gd name="T29" fmla="*/ 0 h 1587"/>
              <a:gd name="T30" fmla="*/ 0 w 2"/>
              <a:gd name="T31" fmla="*/ 0 h 1587"/>
              <a:gd name="T32" fmla="*/ 0 w 2"/>
              <a:gd name="T33" fmla="*/ 0 h 1587"/>
              <a:gd name="T34" fmla="*/ 5040313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1240"/>
          <p:cNvSpPr>
            <a:spLocks/>
          </p:cNvSpPr>
          <p:nvPr/>
        </p:nvSpPr>
        <p:spPr bwMode="auto">
          <a:xfrm>
            <a:off x="728663" y="541338"/>
            <a:ext cx="1587" cy="3175"/>
          </a:xfrm>
          <a:custGeom>
            <a:avLst/>
            <a:gdLst>
              <a:gd name="T0" fmla="*/ 0 w 1587"/>
              <a:gd name="T1" fmla="*/ 5040313 h 2"/>
              <a:gd name="T2" fmla="*/ 0 w 1587"/>
              <a:gd name="T3" fmla="*/ 5040313 h 2"/>
              <a:gd name="T4" fmla="*/ 0 w 1587"/>
              <a:gd name="T5" fmla="*/ 0 h 2"/>
              <a:gd name="T6" fmla="*/ 0 w 1587"/>
              <a:gd name="T7" fmla="*/ 5040313 h 2"/>
              <a:gd name="T8" fmla="*/ 0 w 1587"/>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243"/>
          <p:cNvSpPr>
            <a:spLocks/>
          </p:cNvSpPr>
          <p:nvPr/>
        </p:nvSpPr>
        <p:spPr bwMode="auto">
          <a:xfrm>
            <a:off x="728663" y="538163"/>
            <a:ext cx="3175" cy="3175"/>
          </a:xfrm>
          <a:custGeom>
            <a:avLst/>
            <a:gdLst>
              <a:gd name="T0" fmla="*/ 5040313 w 2"/>
              <a:gd name="T1" fmla="*/ 5040313 h 2"/>
              <a:gd name="T2" fmla="*/ 5040313 w 2"/>
              <a:gd name="T3" fmla="*/ 5040313 h 2"/>
              <a:gd name="T4" fmla="*/ 5040313 w 2"/>
              <a:gd name="T5" fmla="*/ 5040313 h 2"/>
              <a:gd name="T6" fmla="*/ 5040313 w 2"/>
              <a:gd name="T7" fmla="*/ 5040313 h 2"/>
              <a:gd name="T8" fmla="*/ 0 w 2"/>
              <a:gd name="T9" fmla="*/ 5040313 h 2"/>
              <a:gd name="T10" fmla="*/ 0 w 2"/>
              <a:gd name="T11" fmla="*/ 5040313 h 2"/>
              <a:gd name="T12" fmla="*/ 5040313 w 2"/>
              <a:gd name="T13" fmla="*/ 5040313 h 2"/>
              <a:gd name="T14" fmla="*/ 0 w 2"/>
              <a:gd name="T15" fmla="*/ 5040313 h 2"/>
              <a:gd name="T16" fmla="*/ 0 w 2"/>
              <a:gd name="T17" fmla="*/ 5040313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0 w 2"/>
              <a:gd name="T29" fmla="*/ 5040313 h 2"/>
              <a:gd name="T30" fmla="*/ 0 w 2"/>
              <a:gd name="T31" fmla="*/ 5040313 h 2"/>
              <a:gd name="T32" fmla="*/ 0 w 2"/>
              <a:gd name="T33" fmla="*/ 5040313 h 2"/>
              <a:gd name="T34" fmla="*/ 0 w 2"/>
              <a:gd name="T35" fmla="*/ 5040313 h 2"/>
              <a:gd name="T36" fmla="*/ 0 w 2"/>
              <a:gd name="T37" fmla="*/ 5040313 h 2"/>
              <a:gd name="T38" fmla="*/ 5040313 w 2"/>
              <a:gd name="T39" fmla="*/ 5040313 h 2"/>
              <a:gd name="T40" fmla="*/ 5040313 w 2"/>
              <a:gd name="T41" fmla="*/ 5040313 h 2"/>
              <a:gd name="T42" fmla="*/ 5040313 w 2"/>
              <a:gd name="T43" fmla="*/ 5040313 h 2"/>
              <a:gd name="T44" fmla="*/ 5040313 w 2"/>
              <a:gd name="T45" fmla="*/ 5040313 h 2"/>
              <a:gd name="T46" fmla="*/ 5040313 w 2"/>
              <a:gd name="T47" fmla="*/ 5040313 h 2"/>
              <a:gd name="T48" fmla="*/ 0 w 2"/>
              <a:gd name="T49" fmla="*/ 0 h 2"/>
              <a:gd name="T50" fmla="*/ 0 w 2"/>
              <a:gd name="T51" fmla="*/ 5040313 h 2"/>
              <a:gd name="T52" fmla="*/ 0 w 2"/>
              <a:gd name="T53" fmla="*/ 5040313 h 2"/>
              <a:gd name="T54" fmla="*/ 0 w 2"/>
              <a:gd name="T55" fmla="*/ 5040313 h 2"/>
              <a:gd name="T56" fmla="*/ 5040313 w 2"/>
              <a:gd name="T57" fmla="*/ 5040313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46"/>
          <p:cNvSpPr>
            <a:spLocks/>
          </p:cNvSpPr>
          <p:nvPr/>
        </p:nvSpPr>
        <p:spPr bwMode="auto">
          <a:xfrm>
            <a:off x="725488" y="547688"/>
            <a:ext cx="3175" cy="3175"/>
          </a:xfrm>
          <a:custGeom>
            <a:avLst/>
            <a:gdLst>
              <a:gd name="T0" fmla="*/ 0 w 2"/>
              <a:gd name="T1" fmla="*/ 5040313 h 2"/>
              <a:gd name="T2" fmla="*/ 0 w 2"/>
              <a:gd name="T3" fmla="*/ 5040313 h 2"/>
              <a:gd name="T4" fmla="*/ 5040313 w 2"/>
              <a:gd name="T5" fmla="*/ 0 h 2"/>
              <a:gd name="T6" fmla="*/ 5040313 w 2"/>
              <a:gd name="T7" fmla="*/ 0 h 2"/>
              <a:gd name="T8" fmla="*/ 0 w 2"/>
              <a:gd name="T9" fmla="*/ 0 h 2"/>
              <a:gd name="T10" fmla="*/ 0 w 2"/>
              <a:gd name="T11" fmla="*/ 0 h 2"/>
              <a:gd name="T12" fmla="*/ 0 w 2"/>
              <a:gd name="T13" fmla="*/ 5040313 h 2"/>
              <a:gd name="T14" fmla="*/ 0 w 2"/>
              <a:gd name="T15" fmla="*/ 5040313 h 2"/>
              <a:gd name="T16" fmla="*/ 5040313 w 2"/>
              <a:gd name="T17" fmla="*/ 0 h 2"/>
              <a:gd name="T18" fmla="*/ 5040313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5040313 h 2"/>
              <a:gd name="T48" fmla="*/ 0 w 2"/>
              <a:gd name="T49" fmla="*/ 5040313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50"/>
          <p:cNvSpPr>
            <a:spLocks/>
          </p:cNvSpPr>
          <p:nvPr/>
        </p:nvSpPr>
        <p:spPr bwMode="auto">
          <a:xfrm>
            <a:off x="731838" y="530225"/>
            <a:ext cx="3175" cy="1588"/>
          </a:xfrm>
          <a:custGeom>
            <a:avLst/>
            <a:gdLst>
              <a:gd name="T0" fmla="*/ 5040313 w 2"/>
              <a:gd name="T1" fmla="*/ 0 h 1588"/>
              <a:gd name="T2" fmla="*/ 0 w 2"/>
              <a:gd name="T3" fmla="*/ 0 h 1588"/>
              <a:gd name="T4" fmla="*/ 5040313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52"/>
          <p:cNvSpPr>
            <a:spLocks/>
          </p:cNvSpPr>
          <p:nvPr/>
        </p:nvSpPr>
        <p:spPr bwMode="auto">
          <a:xfrm>
            <a:off x="731838" y="527050"/>
            <a:ext cx="3175" cy="7938"/>
          </a:xfrm>
          <a:custGeom>
            <a:avLst/>
            <a:gdLst>
              <a:gd name="T0" fmla="*/ 5040313 w 2"/>
              <a:gd name="T1" fmla="*/ 5040630 h 5"/>
              <a:gd name="T2" fmla="*/ 5040313 w 2"/>
              <a:gd name="T3" fmla="*/ 5040630 h 5"/>
              <a:gd name="T4" fmla="*/ 0 w 2"/>
              <a:gd name="T5" fmla="*/ 0 h 5"/>
              <a:gd name="T6" fmla="*/ 0 w 2"/>
              <a:gd name="T7" fmla="*/ 5040630 h 5"/>
              <a:gd name="T8" fmla="*/ 0 w 2"/>
              <a:gd name="T9" fmla="*/ 5040630 h 5"/>
              <a:gd name="T10" fmla="*/ 5040313 w 2"/>
              <a:gd name="T11" fmla="*/ 12602369 h 5"/>
              <a:gd name="T12" fmla="*/ 5040313 w 2"/>
              <a:gd name="T13" fmla="*/ 5040630 h 5"/>
              <a:gd name="T14" fmla="*/ 5040313 w 2"/>
              <a:gd name="T15" fmla="*/ 5040630 h 5"/>
              <a:gd name="T16" fmla="*/ 0 w 2"/>
              <a:gd name="T17" fmla="*/ 0 h 5"/>
              <a:gd name="T18" fmla="*/ 0 w 2"/>
              <a:gd name="T19" fmla="*/ 5040630 h 5"/>
              <a:gd name="T20" fmla="*/ 0 w 2"/>
              <a:gd name="T21" fmla="*/ 5040630 h 5"/>
              <a:gd name="T22" fmla="*/ 5040313 w 2"/>
              <a:gd name="T23" fmla="*/ 12602369 h 5"/>
              <a:gd name="T24" fmla="*/ 5040313 w 2"/>
              <a:gd name="T25" fmla="*/ 504063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55"/>
          <p:cNvSpPr>
            <a:spLocks/>
          </p:cNvSpPr>
          <p:nvPr/>
        </p:nvSpPr>
        <p:spPr bwMode="auto">
          <a:xfrm>
            <a:off x="712788" y="550863"/>
            <a:ext cx="3175" cy="1587"/>
          </a:xfrm>
          <a:custGeom>
            <a:avLst/>
            <a:gdLst>
              <a:gd name="T0" fmla="*/ 0 w 2"/>
              <a:gd name="T1" fmla="*/ 0 h 1587"/>
              <a:gd name="T2" fmla="*/ 5040313 w 2"/>
              <a:gd name="T3" fmla="*/ 0 h 1587"/>
              <a:gd name="T4" fmla="*/ 5040313 w 2"/>
              <a:gd name="T5" fmla="*/ 0 h 1587"/>
              <a:gd name="T6" fmla="*/ 5040313 w 2"/>
              <a:gd name="T7" fmla="*/ 0 h 1587"/>
              <a:gd name="T8" fmla="*/ 5040313 w 2"/>
              <a:gd name="T9" fmla="*/ 0 h 1587"/>
              <a:gd name="T10" fmla="*/ 0 w 2"/>
              <a:gd name="T11" fmla="*/ 0 h 1587"/>
              <a:gd name="T12" fmla="*/ 0 w 2"/>
              <a:gd name="T13" fmla="*/ 0 h 1587"/>
              <a:gd name="T14" fmla="*/ 0 w 2"/>
              <a:gd name="T15" fmla="*/ 0 h 1587"/>
              <a:gd name="T16" fmla="*/ 0 w 2"/>
              <a:gd name="T17" fmla="*/ 0 h 1587"/>
              <a:gd name="T18" fmla="*/ 5040313 w 2"/>
              <a:gd name="T19" fmla="*/ 0 h 1587"/>
              <a:gd name="T20" fmla="*/ 5040313 w 2"/>
              <a:gd name="T21" fmla="*/ 0 h 1587"/>
              <a:gd name="T22" fmla="*/ 5040313 w 2"/>
              <a:gd name="T23" fmla="*/ 0 h 1587"/>
              <a:gd name="T24" fmla="*/ 5040313 w 2"/>
              <a:gd name="T25" fmla="*/ 0 h 1587"/>
              <a:gd name="T26" fmla="*/ 5040313 w 2"/>
              <a:gd name="T27" fmla="*/ 0 h 1587"/>
              <a:gd name="T28" fmla="*/ 5040313 w 2"/>
              <a:gd name="T29" fmla="*/ 0 h 1587"/>
              <a:gd name="T30" fmla="*/ 5040313 w 2"/>
              <a:gd name="T31" fmla="*/ 0 h 1587"/>
              <a:gd name="T32" fmla="*/ 5040313 w 2"/>
              <a:gd name="T33" fmla="*/ 0 h 1587"/>
              <a:gd name="T34" fmla="*/ 5040313 w 2"/>
              <a:gd name="T35" fmla="*/ 0 h 1587"/>
              <a:gd name="T36" fmla="*/ 5040313 w 2"/>
              <a:gd name="T37" fmla="*/ 0 h 1587"/>
              <a:gd name="T38" fmla="*/ 5040313 w 2"/>
              <a:gd name="T39" fmla="*/ 0 h 1587"/>
              <a:gd name="T40" fmla="*/ 5040313 w 2"/>
              <a:gd name="T41" fmla="*/ 0 h 1587"/>
              <a:gd name="T42" fmla="*/ 5040313 w 2"/>
              <a:gd name="T43" fmla="*/ 0 h 1587"/>
              <a:gd name="T44" fmla="*/ 5040313 w 2"/>
              <a:gd name="T45" fmla="*/ 0 h 1587"/>
              <a:gd name="T46" fmla="*/ 5040313 w 2"/>
              <a:gd name="T47" fmla="*/ 0 h 1587"/>
              <a:gd name="T48" fmla="*/ 5040313 w 2"/>
              <a:gd name="T49" fmla="*/ 0 h 1587"/>
              <a:gd name="T50" fmla="*/ 5040313 w 2"/>
              <a:gd name="T51" fmla="*/ 0 h 1587"/>
              <a:gd name="T52" fmla="*/ 5040313 w 2"/>
              <a:gd name="T53" fmla="*/ 0 h 1587"/>
              <a:gd name="T54" fmla="*/ 5040313 w 2"/>
              <a:gd name="T55" fmla="*/ 0 h 1587"/>
              <a:gd name="T56" fmla="*/ 5040313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2"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1269"/>
          <p:cNvSpPr>
            <a:spLocks/>
          </p:cNvSpPr>
          <p:nvPr/>
        </p:nvSpPr>
        <p:spPr bwMode="auto">
          <a:xfrm>
            <a:off x="728663" y="530225"/>
            <a:ext cx="3175" cy="4763"/>
          </a:xfrm>
          <a:custGeom>
            <a:avLst/>
            <a:gdLst>
              <a:gd name="T0" fmla="*/ 0 w 2"/>
              <a:gd name="T1" fmla="*/ 7562056 h 3"/>
              <a:gd name="T2" fmla="*/ 5040313 w 2"/>
              <a:gd name="T3" fmla="*/ 0 h 3"/>
              <a:gd name="T4" fmla="*/ 5040313 w 2"/>
              <a:gd name="T5" fmla="*/ 0 h 3"/>
              <a:gd name="T6" fmla="*/ 5040313 w 2"/>
              <a:gd name="T7" fmla="*/ 0 h 3"/>
              <a:gd name="T8" fmla="*/ 5040313 w 2"/>
              <a:gd name="T9" fmla="*/ 0 h 3"/>
              <a:gd name="T10" fmla="*/ 0 w 2"/>
              <a:gd name="T11" fmla="*/ 0 h 3"/>
              <a:gd name="T12" fmla="*/ 0 w 2"/>
              <a:gd name="T13" fmla="*/ 0 h 3"/>
              <a:gd name="T14" fmla="*/ 0 w 2"/>
              <a:gd name="T15" fmla="*/ 7562056 h 3"/>
              <a:gd name="T16" fmla="*/ 0 w 2"/>
              <a:gd name="T17" fmla="*/ 7562056 h 3"/>
              <a:gd name="T18" fmla="*/ 5040313 w 2"/>
              <a:gd name="T19" fmla="*/ 0 h 3"/>
              <a:gd name="T20" fmla="*/ 5040313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7562056 h 3"/>
              <a:gd name="T40" fmla="*/ 0 w 2"/>
              <a:gd name="T41" fmla="*/ 756205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8"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9"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Freeform 1277"/>
          <p:cNvSpPr>
            <a:spLocks/>
          </p:cNvSpPr>
          <p:nvPr/>
        </p:nvSpPr>
        <p:spPr bwMode="auto">
          <a:xfrm>
            <a:off x="728663" y="523875"/>
            <a:ext cx="1587" cy="3175"/>
          </a:xfrm>
          <a:custGeom>
            <a:avLst/>
            <a:gdLst>
              <a:gd name="T0" fmla="*/ 0 w 1587"/>
              <a:gd name="T1" fmla="*/ 5040313 h 2"/>
              <a:gd name="T2" fmla="*/ 0 w 1587"/>
              <a:gd name="T3" fmla="*/ 5040313 h 2"/>
              <a:gd name="T4" fmla="*/ 0 w 1587"/>
              <a:gd name="T5" fmla="*/ 0 h 2"/>
              <a:gd name="T6" fmla="*/ 0 w 1587"/>
              <a:gd name="T7" fmla="*/ 5040313 h 2"/>
              <a:gd name="T8" fmla="*/ 0 w 1587"/>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Freeform 1287"/>
          <p:cNvSpPr>
            <a:spLocks/>
          </p:cNvSpPr>
          <p:nvPr/>
        </p:nvSpPr>
        <p:spPr bwMode="auto">
          <a:xfrm>
            <a:off x="719138" y="514350"/>
            <a:ext cx="3175" cy="3175"/>
          </a:xfrm>
          <a:custGeom>
            <a:avLst/>
            <a:gdLst>
              <a:gd name="T0" fmla="*/ 0 w 2"/>
              <a:gd name="T1" fmla="*/ 0 h 2"/>
              <a:gd name="T2" fmla="*/ 0 w 2"/>
              <a:gd name="T3" fmla="*/ 5040313 h 2"/>
              <a:gd name="T4" fmla="*/ 5040313 w 2"/>
              <a:gd name="T5" fmla="*/ 5040313 h 2"/>
              <a:gd name="T6" fmla="*/ 5040313 w 2"/>
              <a:gd name="T7" fmla="*/ 5040313 h 2"/>
              <a:gd name="T8" fmla="*/ 5040313 w 2"/>
              <a:gd name="T9" fmla="*/ 5040313 h 2"/>
              <a:gd name="T10" fmla="*/ 5040313 w 2"/>
              <a:gd name="T11" fmla="*/ 0 h 2"/>
              <a:gd name="T12" fmla="*/ 0 w 2"/>
              <a:gd name="T13" fmla="*/ 0 h 2"/>
              <a:gd name="T14" fmla="*/ 0 w 2"/>
              <a:gd name="T15" fmla="*/ 0 h 2"/>
              <a:gd name="T16" fmla="*/ 0 w 2"/>
              <a:gd name="T17" fmla="*/ 5040313 h 2"/>
              <a:gd name="T18" fmla="*/ 0 w 2"/>
              <a:gd name="T19" fmla="*/ 5040313 h 2"/>
              <a:gd name="T20" fmla="*/ 0 w 2"/>
              <a:gd name="T21" fmla="*/ 5040313 h 2"/>
              <a:gd name="T22" fmla="*/ 0 w 2"/>
              <a:gd name="T23" fmla="*/ 5040313 h 2"/>
              <a:gd name="T24" fmla="*/ 5040313 w 2"/>
              <a:gd name="T25" fmla="*/ 5040313 h 2"/>
              <a:gd name="T26" fmla="*/ 5040313 w 2"/>
              <a:gd name="T27" fmla="*/ 5040313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1290"/>
          <p:cNvSpPr>
            <a:spLocks/>
          </p:cNvSpPr>
          <p:nvPr/>
        </p:nvSpPr>
        <p:spPr bwMode="auto">
          <a:xfrm>
            <a:off x="719138" y="517525"/>
            <a:ext cx="3175" cy="3175"/>
          </a:xfrm>
          <a:custGeom>
            <a:avLst/>
            <a:gdLst>
              <a:gd name="T0" fmla="*/ 0 w 2"/>
              <a:gd name="T1" fmla="*/ 5040313 h 2"/>
              <a:gd name="T2" fmla="*/ 0 w 2"/>
              <a:gd name="T3" fmla="*/ 5040313 h 2"/>
              <a:gd name="T4" fmla="*/ 5040313 w 2"/>
              <a:gd name="T5" fmla="*/ 5040313 h 2"/>
              <a:gd name="T6" fmla="*/ 5040313 w 2"/>
              <a:gd name="T7" fmla="*/ 5040313 h 2"/>
              <a:gd name="T8" fmla="*/ 5040313 w 2"/>
              <a:gd name="T9" fmla="*/ 5040313 h 2"/>
              <a:gd name="T10" fmla="*/ 5040313 w 2"/>
              <a:gd name="T11" fmla="*/ 0 h 2"/>
              <a:gd name="T12" fmla="*/ 0 w 2"/>
              <a:gd name="T13" fmla="*/ 0 h 2"/>
              <a:gd name="T14" fmla="*/ 0 w 2"/>
              <a:gd name="T15" fmla="*/ 0 h 2"/>
              <a:gd name="T16" fmla="*/ 0 w 2"/>
              <a:gd name="T17" fmla="*/ 0 h 2"/>
              <a:gd name="T18" fmla="*/ 0 w 2"/>
              <a:gd name="T19" fmla="*/ 0 h 2"/>
              <a:gd name="T20" fmla="*/ 5040313 w 2"/>
              <a:gd name="T21" fmla="*/ 0 h 2"/>
              <a:gd name="T22" fmla="*/ 0 w 2"/>
              <a:gd name="T23" fmla="*/ 0 h 2"/>
              <a:gd name="T24" fmla="*/ 0 w 2"/>
              <a:gd name="T25" fmla="*/ 0 h 2"/>
              <a:gd name="T26" fmla="*/ 0 w 2"/>
              <a:gd name="T27" fmla="*/ 0 h 2"/>
              <a:gd name="T28" fmla="*/ 0 w 2"/>
              <a:gd name="T29" fmla="*/ 0 h 2"/>
              <a:gd name="T30" fmla="*/ 0 w 2"/>
              <a:gd name="T31" fmla="*/ 5040313 h 2"/>
              <a:gd name="T32" fmla="*/ 0 w 2"/>
              <a:gd name="T33" fmla="*/ 5040313 h 2"/>
              <a:gd name="T34" fmla="*/ 0 w 2"/>
              <a:gd name="T35" fmla="*/ 5040313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5040313 h 2"/>
              <a:gd name="T50" fmla="*/ 5040313 w 2"/>
              <a:gd name="T51" fmla="*/ 5040313 h 2"/>
              <a:gd name="T52" fmla="*/ 5040313 w 2"/>
              <a:gd name="T53" fmla="*/ 0 h 2"/>
              <a:gd name="T54" fmla="*/ 5040313 w 2"/>
              <a:gd name="T55" fmla="*/ 0 h 2"/>
              <a:gd name="T56" fmla="*/ 0 w 2"/>
              <a:gd name="T57" fmla="*/ 0 h 2"/>
              <a:gd name="T58" fmla="*/ 0 w 2"/>
              <a:gd name="T59" fmla="*/ 0 h 2"/>
              <a:gd name="T60" fmla="*/ 0 w 2"/>
              <a:gd name="T61" fmla="*/ 5040313 h 2"/>
              <a:gd name="T62" fmla="*/ 0 w 2"/>
              <a:gd name="T63" fmla="*/ 5040313 h 2"/>
              <a:gd name="T64" fmla="*/ 5040313 w 2"/>
              <a:gd name="T65" fmla="*/ 5040313 h 2"/>
              <a:gd name="T66" fmla="*/ 5040313 w 2"/>
              <a:gd name="T67" fmla="*/ 5040313 h 2"/>
              <a:gd name="T68" fmla="*/ 0 w 2"/>
              <a:gd name="T69" fmla="*/ 5040313 h 2"/>
              <a:gd name="T70" fmla="*/ 0 w 2"/>
              <a:gd name="T71" fmla="*/ 5040313 h 2"/>
              <a:gd name="T72" fmla="*/ 0 w 2"/>
              <a:gd name="T73" fmla="*/ 5040313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5"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6"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7"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61"/>
          <p:cNvSpPr>
            <a:spLocks noChangeArrowheads="1"/>
          </p:cNvSpPr>
          <p:nvPr/>
        </p:nvSpPr>
        <p:spPr bwMode="auto">
          <a:xfrm>
            <a:off x="0" y="4302125"/>
            <a:ext cx="9144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pic>
        <p:nvPicPr>
          <p:cNvPr id="6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1475" y="4916488"/>
            <a:ext cx="4141788" cy="82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4" name="Group 65"/>
          <p:cNvGrpSpPr>
            <a:grpSpLocks/>
          </p:cNvGrpSpPr>
          <p:nvPr userDrawn="1"/>
        </p:nvGrpSpPr>
        <p:grpSpPr bwMode="auto">
          <a:xfrm>
            <a:off x="371475" y="6269038"/>
            <a:ext cx="8224838" cy="260350"/>
            <a:chOff x="202219" y="1895846"/>
            <a:chExt cx="8223381" cy="261239"/>
          </a:xfrm>
        </p:grpSpPr>
        <p:sp>
          <p:nvSpPr>
            <p:cNvPr id="65" name="TextBox 66"/>
            <p:cNvSpPr txBox="1">
              <a:spLocks noChangeArrowheads="1"/>
            </p:cNvSpPr>
            <p:nvPr userDrawn="1"/>
          </p:nvSpPr>
          <p:spPr bwMode="auto">
            <a:xfrm>
              <a:off x="202219" y="1895846"/>
              <a:ext cx="8223381" cy="215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eaLnBrk="0" hangingPunct="0">
                <a:defRPr sz="1600" b="1">
                  <a:solidFill>
                    <a:schemeClr val="tx1"/>
                  </a:solidFill>
                  <a:latin typeface="Trebuchet MS" pitchFamily="34" charset="0"/>
                  <a:ea typeface="MS PGothic" pitchFamily="34" charset="-128"/>
                </a:defRPr>
              </a:lvl1pPr>
              <a:lvl2pPr marL="742950" indent="-285750" defTabSz="457200" eaLnBrk="0" hangingPunct="0">
                <a:defRPr sz="1600" b="1">
                  <a:solidFill>
                    <a:schemeClr val="tx1"/>
                  </a:solidFill>
                  <a:latin typeface="Trebuchet MS" pitchFamily="34" charset="0"/>
                  <a:ea typeface="MS PGothic" pitchFamily="34" charset="-128"/>
                </a:defRPr>
              </a:lvl2pPr>
              <a:lvl3pPr marL="1143000" indent="-228600" defTabSz="457200" eaLnBrk="0" hangingPunct="0">
                <a:defRPr sz="1600" b="1">
                  <a:solidFill>
                    <a:schemeClr val="tx1"/>
                  </a:solidFill>
                  <a:latin typeface="Trebuchet MS" pitchFamily="34" charset="0"/>
                  <a:ea typeface="MS PGothic" pitchFamily="34" charset="-128"/>
                </a:defRPr>
              </a:lvl3pPr>
              <a:lvl4pPr marL="1600200" indent="-228600" defTabSz="457200" eaLnBrk="0" hangingPunct="0">
                <a:defRPr sz="1600" b="1">
                  <a:solidFill>
                    <a:schemeClr val="tx1"/>
                  </a:solidFill>
                  <a:latin typeface="Trebuchet MS" pitchFamily="34" charset="0"/>
                  <a:ea typeface="MS PGothic" pitchFamily="34" charset="-128"/>
                </a:defRPr>
              </a:lvl4pPr>
              <a:lvl5pPr marL="2057400" indent="-228600" defTabSz="457200" eaLnBrk="0" hangingPunct="0">
                <a:defRPr sz="1600" b="1">
                  <a:solidFill>
                    <a:schemeClr val="tx1"/>
                  </a:solidFill>
                  <a:latin typeface="Trebuchet MS" pitchFamily="34" charset="0"/>
                  <a:ea typeface="MS PGothic" pitchFamily="34" charset="-128"/>
                </a:defRPr>
              </a:lvl5pPr>
              <a:lvl6pPr marL="25146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ts val="200"/>
                </a:spcBef>
                <a:defRPr/>
              </a:pPr>
              <a:r>
                <a:rPr lang="en-US" altLang="en-US" sz="1400" b="0" dirty="0">
                  <a:latin typeface="+mn-lt"/>
                </a:rPr>
                <a:t>www.worldbank.org/water  |  www.blogs.worldbank.org/water   |        @</a:t>
              </a:r>
              <a:r>
                <a:rPr lang="en-US" altLang="en-US" sz="1400" b="0" dirty="0" err="1">
                  <a:latin typeface="+mn-lt"/>
                </a:rPr>
                <a:t>WorldBankWater</a:t>
              </a:r>
              <a:endParaRPr lang="en-US" altLang="en-US" sz="1400" b="0" dirty="0">
                <a:latin typeface="+mn-lt"/>
              </a:endParaRPr>
            </a:p>
          </p:txBody>
        </p:sp>
        <p:pic>
          <p:nvPicPr>
            <p:cNvPr id="66" name="Picture 5" descr="http://www.clipartbest.com/cliparts/ace/KAn/aceKAnqBi.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282238" y="1919341"/>
              <a:ext cx="237744" cy="237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7" name="TextBox 75"/>
          <p:cNvSpPr txBox="1">
            <a:spLocks noChangeArrowheads="1"/>
          </p:cNvSpPr>
          <p:nvPr userDrawn="1"/>
        </p:nvSpPr>
        <p:spPr bwMode="auto">
          <a:xfrm>
            <a:off x="2886075" y="73025"/>
            <a:ext cx="60325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600" b="1">
                <a:solidFill>
                  <a:schemeClr val="tx1"/>
                </a:solidFill>
                <a:latin typeface="Trebuchet MS" panose="020B0603020202020204" pitchFamily="34" charset="0"/>
                <a:ea typeface="MS PGothic" panose="020B0600070205080204" pitchFamily="34" charset="-128"/>
              </a:defRPr>
            </a:lvl1pPr>
            <a:lvl2pPr marL="742950" indent="-285750">
              <a:defRPr sz="1600" b="1">
                <a:solidFill>
                  <a:schemeClr val="tx1"/>
                </a:solidFill>
                <a:latin typeface="Trebuchet MS" panose="020B0603020202020204" pitchFamily="34" charset="0"/>
                <a:ea typeface="MS PGothic" panose="020B0600070205080204" pitchFamily="34" charset="-128"/>
              </a:defRPr>
            </a:lvl2pPr>
            <a:lvl3pPr marL="1143000" indent="-228600">
              <a:defRPr sz="1600" b="1">
                <a:solidFill>
                  <a:schemeClr val="tx1"/>
                </a:solidFill>
                <a:latin typeface="Trebuchet MS" panose="020B0603020202020204" pitchFamily="34" charset="0"/>
                <a:ea typeface="MS PGothic" panose="020B0600070205080204" pitchFamily="34" charset="-128"/>
              </a:defRPr>
            </a:lvl3pPr>
            <a:lvl4pPr marL="1600200" indent="-228600">
              <a:defRPr sz="1600" b="1">
                <a:solidFill>
                  <a:schemeClr val="tx1"/>
                </a:solidFill>
                <a:latin typeface="Trebuchet MS" panose="020B0603020202020204" pitchFamily="34" charset="0"/>
                <a:ea typeface="MS PGothic" panose="020B0600070205080204" pitchFamily="34" charset="-128"/>
              </a:defRPr>
            </a:lvl4pPr>
            <a:lvl5pPr marL="2057400" indent="-22860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algn="r" eaLnBrk="1" hangingPunct="1">
              <a:spcBef>
                <a:spcPts val="400"/>
              </a:spcBef>
            </a:pPr>
            <a:r>
              <a:rPr lang="en-US" altLang="en-US" sz="1400">
                <a:solidFill>
                  <a:srgbClr val="F2F2F2"/>
                </a:solidFill>
                <a:latin typeface="Arial" panose="020B0604020202020204" pitchFamily="34" charset="0"/>
              </a:rPr>
              <a:t>Preliminary – for Internal Discussion</a:t>
            </a:r>
          </a:p>
        </p:txBody>
      </p:sp>
      <p:sp>
        <p:nvSpPr>
          <p:cNvPr id="71" name="Title 329"/>
          <p:cNvSpPr>
            <a:spLocks noGrp="1"/>
          </p:cNvSpPr>
          <p:nvPr>
            <p:ph type="title"/>
          </p:nvPr>
        </p:nvSpPr>
        <p:spPr>
          <a:xfrm>
            <a:off x="1280160" y="1955552"/>
            <a:ext cx="6971806" cy="1107996"/>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4248441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ark Blue Section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9144000" cy="6858000"/>
          </a:xfrm>
          <a:prstGeom prst="rect">
            <a:avLst/>
          </a:prstGeom>
          <a:solidFill>
            <a:schemeClr val="tx1"/>
          </a:solidFill>
          <a:ln>
            <a:noFill/>
          </a:ln>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8"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9" name="Freeform 1098"/>
          <p:cNvSpPr>
            <a:spLocks/>
          </p:cNvSpPr>
          <p:nvPr/>
        </p:nvSpPr>
        <p:spPr bwMode="auto">
          <a:xfrm>
            <a:off x="487363" y="617538"/>
            <a:ext cx="3175" cy="1587"/>
          </a:xfrm>
          <a:custGeom>
            <a:avLst/>
            <a:gdLst>
              <a:gd name="T0" fmla="*/ 0 w 2"/>
              <a:gd name="T1" fmla="*/ 0 h 1587"/>
              <a:gd name="T2" fmla="*/ 3175 w 2"/>
              <a:gd name="T3" fmla="*/ 0 h 1587"/>
              <a:gd name="T4" fmla="*/ 3175 w 2"/>
              <a:gd name="T5" fmla="*/ 0 h 1587"/>
              <a:gd name="T6" fmla="*/ 3175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3175 w 2"/>
              <a:gd name="T35" fmla="*/ 0 h 1587"/>
              <a:gd name="T36" fmla="*/ 3175 w 2"/>
              <a:gd name="T37" fmla="*/ 0 h 1587"/>
              <a:gd name="T38" fmla="*/ 3175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1115"/>
          <p:cNvSpPr>
            <a:spLocks/>
          </p:cNvSpPr>
          <p:nvPr/>
        </p:nvSpPr>
        <p:spPr bwMode="auto">
          <a:xfrm>
            <a:off x="458788" y="473075"/>
            <a:ext cx="3175" cy="3175"/>
          </a:xfrm>
          <a:custGeom>
            <a:avLst/>
            <a:gdLst>
              <a:gd name="T0" fmla="*/ 0 w 2"/>
              <a:gd name="T1" fmla="*/ 3175 h 2"/>
              <a:gd name="T2" fmla="*/ 0 w 2"/>
              <a:gd name="T3" fmla="*/ 3175 h 2"/>
              <a:gd name="T4" fmla="*/ 0 w 2"/>
              <a:gd name="T5" fmla="*/ 3175 h 2"/>
              <a:gd name="T6" fmla="*/ 0 w 2"/>
              <a:gd name="T7" fmla="*/ 3175 h 2"/>
              <a:gd name="T8" fmla="*/ 0 w 2"/>
              <a:gd name="T9" fmla="*/ 3175 h 2"/>
              <a:gd name="T10" fmla="*/ 0 w 2"/>
              <a:gd name="T11" fmla="*/ 3175 h 2"/>
              <a:gd name="T12" fmla="*/ 3175 w 2"/>
              <a:gd name="T13" fmla="*/ 3175 h 2"/>
              <a:gd name="T14" fmla="*/ 3175 w 2"/>
              <a:gd name="T15" fmla="*/ 3175 h 2"/>
              <a:gd name="T16" fmla="*/ 3175 w 2"/>
              <a:gd name="T17" fmla="*/ 0 h 2"/>
              <a:gd name="T18" fmla="*/ 0 w 2"/>
              <a:gd name="T19" fmla="*/ 3175 h 2"/>
              <a:gd name="T20" fmla="*/ 0 w 2"/>
              <a:gd name="T21" fmla="*/ 3175 h 2"/>
              <a:gd name="T22" fmla="*/ 0 w 2"/>
              <a:gd name="T23" fmla="*/ 3175 h 2"/>
              <a:gd name="T24" fmla="*/ 0 w 2"/>
              <a:gd name="T25" fmla="*/ 3175 h 2"/>
              <a:gd name="T26" fmla="*/ 0 w 2"/>
              <a:gd name="T27" fmla="*/ 3175 h 2"/>
              <a:gd name="T28" fmla="*/ 3175 w 2"/>
              <a:gd name="T29" fmla="*/ 3175 h 2"/>
              <a:gd name="T30" fmla="*/ 3175 w 2"/>
              <a:gd name="T31" fmla="*/ 3175 h 2"/>
              <a:gd name="T32" fmla="*/ 3175 w 2"/>
              <a:gd name="T33" fmla="*/ 3175 h 2"/>
              <a:gd name="T34" fmla="*/ 3175 w 2"/>
              <a:gd name="T35" fmla="*/ 3175 h 2"/>
              <a:gd name="T36" fmla="*/ 3175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3175 w 2"/>
              <a:gd name="T55" fmla="*/ 3175 h 2"/>
              <a:gd name="T56" fmla="*/ 0 w 2"/>
              <a:gd name="T57" fmla="*/ 3175 h 2"/>
              <a:gd name="T58" fmla="*/ 3175 w 2"/>
              <a:gd name="T59" fmla="*/ 3175 h 2"/>
              <a:gd name="T60" fmla="*/ 3175 w 2"/>
              <a:gd name="T61" fmla="*/ 3175 h 2"/>
              <a:gd name="T62" fmla="*/ 3175 w 2"/>
              <a:gd name="T63" fmla="*/ 3175 h 2"/>
              <a:gd name="T64" fmla="*/ 0 w 2"/>
              <a:gd name="T65" fmla="*/ 3175 h 2"/>
              <a:gd name="T66" fmla="*/ 0 w 2"/>
              <a:gd name="T67" fmla="*/ 3175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120"/>
          <p:cNvSpPr>
            <a:spLocks/>
          </p:cNvSpPr>
          <p:nvPr/>
        </p:nvSpPr>
        <p:spPr bwMode="auto">
          <a:xfrm>
            <a:off x="458788" y="463550"/>
            <a:ext cx="3175" cy="3175"/>
          </a:xfrm>
          <a:custGeom>
            <a:avLst/>
            <a:gdLst>
              <a:gd name="T0" fmla="*/ 0 w 2"/>
              <a:gd name="T1" fmla="*/ 0 h 2"/>
              <a:gd name="T2" fmla="*/ 0 w 2"/>
              <a:gd name="T3" fmla="*/ 3175 h 2"/>
              <a:gd name="T4" fmla="*/ 0 w 2"/>
              <a:gd name="T5" fmla="*/ 3175 h 2"/>
              <a:gd name="T6" fmla="*/ 0 w 2"/>
              <a:gd name="T7" fmla="*/ 3175 h 2"/>
              <a:gd name="T8" fmla="*/ 3175 w 2"/>
              <a:gd name="T9" fmla="*/ 3175 h 2"/>
              <a:gd name="T10" fmla="*/ 3175 w 2"/>
              <a:gd name="T11" fmla="*/ 0 h 2"/>
              <a:gd name="T12" fmla="*/ 3175 w 2"/>
              <a:gd name="T13" fmla="*/ 0 h 2"/>
              <a:gd name="T14" fmla="*/ 3175 w 2"/>
              <a:gd name="T15" fmla="*/ 0 h 2"/>
              <a:gd name="T16" fmla="*/ 0 w 2"/>
              <a:gd name="T17" fmla="*/ 0 h 2"/>
              <a:gd name="T18" fmla="*/ 0 w 2"/>
              <a:gd name="T19" fmla="*/ 3175 h 2"/>
              <a:gd name="T20" fmla="*/ 0 w 2"/>
              <a:gd name="T21" fmla="*/ 3175 h 2"/>
              <a:gd name="T22" fmla="*/ 3175 w 2"/>
              <a:gd name="T23" fmla="*/ 0 h 2"/>
              <a:gd name="T24" fmla="*/ 3175 w 2"/>
              <a:gd name="T25" fmla="*/ 0 h 2"/>
              <a:gd name="T26" fmla="*/ 3175 w 2"/>
              <a:gd name="T27" fmla="*/ 0 h 2"/>
              <a:gd name="T28" fmla="*/ 3175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3175 w 2"/>
              <a:gd name="T47" fmla="*/ 3175 h 2"/>
              <a:gd name="T48" fmla="*/ 0 w 2"/>
              <a:gd name="T49" fmla="*/ 3175 h 2"/>
              <a:gd name="T50" fmla="*/ 0 w 2"/>
              <a:gd name="T51" fmla="*/ 3175 h 2"/>
              <a:gd name="T52" fmla="*/ 3175 w 2"/>
              <a:gd name="T53" fmla="*/ 3175 h 2"/>
              <a:gd name="T54" fmla="*/ 3175 w 2"/>
              <a:gd name="T55" fmla="*/ 3175 h 2"/>
              <a:gd name="T56" fmla="*/ 3175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34"/>
          <p:cNvSpPr>
            <a:spLocks/>
          </p:cNvSpPr>
          <p:nvPr/>
        </p:nvSpPr>
        <p:spPr bwMode="auto">
          <a:xfrm>
            <a:off x="703263" y="514350"/>
            <a:ext cx="3175" cy="6350"/>
          </a:xfrm>
          <a:custGeom>
            <a:avLst/>
            <a:gdLst>
              <a:gd name="T0" fmla="*/ 3175 w 2"/>
              <a:gd name="T1" fmla="*/ 6350 h 4"/>
              <a:gd name="T2" fmla="*/ 3175 w 2"/>
              <a:gd name="T3" fmla="*/ 6350 h 4"/>
              <a:gd name="T4" fmla="*/ 3175 w 2"/>
              <a:gd name="T5" fmla="*/ 6350 h 4"/>
              <a:gd name="T6" fmla="*/ 3175 w 2"/>
              <a:gd name="T7" fmla="*/ 3175 h 4"/>
              <a:gd name="T8" fmla="*/ 3175 w 2"/>
              <a:gd name="T9" fmla="*/ 0 h 4"/>
              <a:gd name="T10" fmla="*/ 3175 w 2"/>
              <a:gd name="T11" fmla="*/ 0 h 4"/>
              <a:gd name="T12" fmla="*/ 3175 w 2"/>
              <a:gd name="T13" fmla="*/ 0 h 4"/>
              <a:gd name="T14" fmla="*/ 0 w 2"/>
              <a:gd name="T15" fmla="*/ 3175 h 4"/>
              <a:gd name="T16" fmla="*/ 3175 w 2"/>
              <a:gd name="T17" fmla="*/ 6350 h 4"/>
              <a:gd name="T18" fmla="*/ 3175 w 2"/>
              <a:gd name="T19" fmla="*/ 3175 h 4"/>
              <a:gd name="T20" fmla="*/ 3175 w 2"/>
              <a:gd name="T21" fmla="*/ 3175 h 4"/>
              <a:gd name="T22" fmla="*/ 3175 w 2"/>
              <a:gd name="T23" fmla="*/ 0 h 4"/>
              <a:gd name="T24" fmla="*/ 3175 w 2"/>
              <a:gd name="T25" fmla="*/ 3175 h 4"/>
              <a:gd name="T26" fmla="*/ 3175 w 2"/>
              <a:gd name="T27" fmla="*/ 3175 h 4"/>
              <a:gd name="T28" fmla="*/ 3175 w 2"/>
              <a:gd name="T29" fmla="*/ 3175 h 4"/>
              <a:gd name="T30" fmla="*/ 3175 w 2"/>
              <a:gd name="T31" fmla="*/ 3175 h 4"/>
              <a:gd name="T32" fmla="*/ 3175 w 2"/>
              <a:gd name="T33" fmla="*/ 3175 h 4"/>
              <a:gd name="T34" fmla="*/ 3175 w 2"/>
              <a:gd name="T35" fmla="*/ 3175 h 4"/>
              <a:gd name="T36" fmla="*/ 3175 w 2"/>
              <a:gd name="T37" fmla="*/ 3175 h 4"/>
              <a:gd name="T38" fmla="*/ 3175 w 2"/>
              <a:gd name="T39" fmla="*/ 3175 h 4"/>
              <a:gd name="T40" fmla="*/ 3175 w 2"/>
              <a:gd name="T41" fmla="*/ 3175 h 4"/>
              <a:gd name="T42" fmla="*/ 3175 w 2"/>
              <a:gd name="T43" fmla="*/ 3175 h 4"/>
              <a:gd name="T44" fmla="*/ 3175 w 2"/>
              <a:gd name="T45" fmla="*/ 3175 h 4"/>
              <a:gd name="T46" fmla="*/ 3175 w 2"/>
              <a:gd name="T47" fmla="*/ 3175 h 4"/>
              <a:gd name="T48" fmla="*/ 3175 w 2"/>
              <a:gd name="T49" fmla="*/ 3175 h 4"/>
              <a:gd name="T50" fmla="*/ 3175 w 2"/>
              <a:gd name="T51" fmla="*/ 3175 h 4"/>
              <a:gd name="T52" fmla="*/ 0 w 2"/>
              <a:gd name="T53" fmla="*/ 3175 h 4"/>
              <a:gd name="T54" fmla="*/ 3175 w 2"/>
              <a:gd name="T55" fmla="*/ 6350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41"/>
          <p:cNvSpPr>
            <a:spLocks/>
          </p:cNvSpPr>
          <p:nvPr/>
        </p:nvSpPr>
        <p:spPr bwMode="auto">
          <a:xfrm>
            <a:off x="706438" y="479425"/>
            <a:ext cx="1587" cy="6350"/>
          </a:xfrm>
          <a:custGeom>
            <a:avLst/>
            <a:gdLst>
              <a:gd name="T0" fmla="*/ 0 w 1587"/>
              <a:gd name="T1" fmla="*/ 6350 h 4"/>
              <a:gd name="T2" fmla="*/ 0 w 1587"/>
              <a:gd name="T3" fmla="*/ 3175 h 4"/>
              <a:gd name="T4" fmla="*/ 0 w 1587"/>
              <a:gd name="T5" fmla="*/ 0 h 4"/>
              <a:gd name="T6" fmla="*/ 0 w 1587"/>
              <a:gd name="T7" fmla="*/ 0 h 4"/>
              <a:gd name="T8" fmla="*/ 0 w 1587"/>
              <a:gd name="T9" fmla="*/ 3175 h 4"/>
              <a:gd name="T10" fmla="*/ 0 w 1587"/>
              <a:gd name="T11" fmla="*/ 3175 h 4"/>
              <a:gd name="T12" fmla="*/ 0 w 1587"/>
              <a:gd name="T13" fmla="*/ 6350 h 4"/>
              <a:gd name="T14" fmla="*/ 0 w 1587"/>
              <a:gd name="T15" fmla="*/ 3175 h 4"/>
              <a:gd name="T16" fmla="*/ 0 w 1587"/>
              <a:gd name="T17" fmla="*/ 3175 h 4"/>
              <a:gd name="T18" fmla="*/ 0 w 1587"/>
              <a:gd name="T19" fmla="*/ 3175 h 4"/>
              <a:gd name="T20" fmla="*/ 0 w 1587"/>
              <a:gd name="T21" fmla="*/ 3175 h 4"/>
              <a:gd name="T22" fmla="*/ 0 w 1587"/>
              <a:gd name="T23" fmla="*/ 3175 h 4"/>
              <a:gd name="T24" fmla="*/ 0 w 1587"/>
              <a:gd name="T25" fmla="*/ 3175 h 4"/>
              <a:gd name="T26" fmla="*/ 0 w 1587"/>
              <a:gd name="T27" fmla="*/ 3175 h 4"/>
              <a:gd name="T28" fmla="*/ 0 w 1587"/>
              <a:gd name="T29" fmla="*/ 635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48"/>
          <p:cNvSpPr>
            <a:spLocks/>
          </p:cNvSpPr>
          <p:nvPr/>
        </p:nvSpPr>
        <p:spPr bwMode="auto">
          <a:xfrm>
            <a:off x="693738" y="460375"/>
            <a:ext cx="3175" cy="3175"/>
          </a:xfrm>
          <a:custGeom>
            <a:avLst/>
            <a:gdLst>
              <a:gd name="T0" fmla="*/ 3175 w 2"/>
              <a:gd name="T1" fmla="*/ 3175 h 2"/>
              <a:gd name="T2" fmla="*/ 3175 w 2"/>
              <a:gd name="T3" fmla="*/ 0 h 2"/>
              <a:gd name="T4" fmla="*/ 3175 w 2"/>
              <a:gd name="T5" fmla="*/ 0 h 2"/>
              <a:gd name="T6" fmla="*/ 3175 w 2"/>
              <a:gd name="T7" fmla="*/ 0 h 2"/>
              <a:gd name="T8" fmla="*/ 3175 w 2"/>
              <a:gd name="T9" fmla="*/ 0 h 2"/>
              <a:gd name="T10" fmla="*/ 0 w 2"/>
              <a:gd name="T11" fmla="*/ 0 h 2"/>
              <a:gd name="T12" fmla="*/ 0 w 2"/>
              <a:gd name="T13" fmla="*/ 0 h 2"/>
              <a:gd name="T14" fmla="*/ 0 w 2"/>
              <a:gd name="T15" fmla="*/ 3175 h 2"/>
              <a:gd name="T16" fmla="*/ 0 w 2"/>
              <a:gd name="T17" fmla="*/ 3175 h 2"/>
              <a:gd name="T18" fmla="*/ 0 w 2"/>
              <a:gd name="T19" fmla="*/ 3175 h 2"/>
              <a:gd name="T20" fmla="*/ 3175 w 2"/>
              <a:gd name="T21" fmla="*/ 3175 h 2"/>
              <a:gd name="T22" fmla="*/ 3175 w 2"/>
              <a:gd name="T23" fmla="*/ 3175 h 2"/>
              <a:gd name="T24" fmla="*/ 3175 w 2"/>
              <a:gd name="T25" fmla="*/ 0 h 2"/>
              <a:gd name="T26" fmla="*/ 3175 w 2"/>
              <a:gd name="T27" fmla="*/ 0 h 2"/>
              <a:gd name="T28" fmla="*/ 3175 w 2"/>
              <a:gd name="T29" fmla="*/ 0 h 2"/>
              <a:gd name="T30" fmla="*/ 0 w 2"/>
              <a:gd name="T31" fmla="*/ 3175 h 2"/>
              <a:gd name="T32" fmla="*/ 3175 w 2"/>
              <a:gd name="T33" fmla="*/ 3175 h 2"/>
              <a:gd name="T34" fmla="*/ 3175 w 2"/>
              <a:gd name="T35" fmla="*/ 0 h 2"/>
              <a:gd name="T36" fmla="*/ 0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3175 w 2"/>
              <a:gd name="T59" fmla="*/ 3175 h 2"/>
              <a:gd name="T60" fmla="*/ 3175 w 2"/>
              <a:gd name="T61" fmla="*/ 3175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50"/>
          <p:cNvSpPr>
            <a:spLocks/>
          </p:cNvSpPr>
          <p:nvPr/>
        </p:nvSpPr>
        <p:spPr bwMode="auto">
          <a:xfrm>
            <a:off x="684213" y="447675"/>
            <a:ext cx="1587" cy="3175"/>
          </a:xfrm>
          <a:custGeom>
            <a:avLst/>
            <a:gdLst>
              <a:gd name="T0" fmla="*/ 0 w 1587"/>
              <a:gd name="T1" fmla="*/ 3175 h 2"/>
              <a:gd name="T2" fmla="*/ 0 w 1587"/>
              <a:gd name="T3" fmla="*/ 0 h 2"/>
              <a:gd name="T4" fmla="*/ 0 w 1587"/>
              <a:gd name="T5" fmla="*/ 3175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52"/>
          <p:cNvSpPr>
            <a:spLocks/>
          </p:cNvSpPr>
          <p:nvPr/>
        </p:nvSpPr>
        <p:spPr bwMode="auto">
          <a:xfrm>
            <a:off x="684213" y="447675"/>
            <a:ext cx="3175" cy="3175"/>
          </a:xfrm>
          <a:custGeom>
            <a:avLst/>
            <a:gdLst>
              <a:gd name="T0" fmla="*/ 3175 w 2"/>
              <a:gd name="T1" fmla="*/ 0 h 2"/>
              <a:gd name="T2" fmla="*/ 0 w 2"/>
              <a:gd name="T3" fmla="*/ 0 h 2"/>
              <a:gd name="T4" fmla="*/ 0 w 2"/>
              <a:gd name="T5" fmla="*/ 0 h 2"/>
              <a:gd name="T6" fmla="*/ 0 w 2"/>
              <a:gd name="T7" fmla="*/ 0 h 2"/>
              <a:gd name="T8" fmla="*/ 0 w 2"/>
              <a:gd name="T9" fmla="*/ 3175 h 2"/>
              <a:gd name="T10" fmla="*/ 3175 w 2"/>
              <a:gd name="T11" fmla="*/ 3175 h 2"/>
              <a:gd name="T12" fmla="*/ 3175 w 2"/>
              <a:gd name="T13" fmla="*/ 0 h 2"/>
              <a:gd name="T14" fmla="*/ 0 w 2"/>
              <a:gd name="T15" fmla="*/ 0 h 2"/>
              <a:gd name="T16" fmla="*/ 0 w 2"/>
              <a:gd name="T17" fmla="*/ 0 h 2"/>
              <a:gd name="T18" fmla="*/ 0 w 2"/>
              <a:gd name="T19" fmla="*/ 0 h 2"/>
              <a:gd name="T20" fmla="*/ 0 w 2"/>
              <a:gd name="T21" fmla="*/ 3175 h 2"/>
              <a:gd name="T22" fmla="*/ 3175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4"/>
          <p:cNvSpPr>
            <a:spLocks/>
          </p:cNvSpPr>
          <p:nvPr/>
        </p:nvSpPr>
        <p:spPr bwMode="auto">
          <a:xfrm>
            <a:off x="665163" y="43497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6"/>
          <p:cNvSpPr>
            <a:spLocks/>
          </p:cNvSpPr>
          <p:nvPr/>
        </p:nvSpPr>
        <p:spPr bwMode="auto">
          <a:xfrm>
            <a:off x="665163" y="431800"/>
            <a:ext cx="3175" cy="3175"/>
          </a:xfrm>
          <a:custGeom>
            <a:avLst/>
            <a:gdLst>
              <a:gd name="T0" fmla="*/ 3175 w 2"/>
              <a:gd name="T1" fmla="*/ 3175 h 2"/>
              <a:gd name="T2" fmla="*/ 0 w 2"/>
              <a:gd name="T3" fmla="*/ 0 h 2"/>
              <a:gd name="T4" fmla="*/ 0 w 2"/>
              <a:gd name="T5" fmla="*/ 0 h 2"/>
              <a:gd name="T6" fmla="*/ 0 w 2"/>
              <a:gd name="T7" fmla="*/ 3175 h 2"/>
              <a:gd name="T8" fmla="*/ 3175 w 2"/>
              <a:gd name="T9" fmla="*/ 3175 h 2"/>
              <a:gd name="T10" fmla="*/ 3175 w 2"/>
              <a:gd name="T11" fmla="*/ 3175 h 2"/>
              <a:gd name="T12" fmla="*/ 3175 w 2"/>
              <a:gd name="T13" fmla="*/ 3175 h 2"/>
              <a:gd name="T14" fmla="*/ 0 w 2"/>
              <a:gd name="T15" fmla="*/ 0 h 2"/>
              <a:gd name="T16" fmla="*/ 0 w 2"/>
              <a:gd name="T17" fmla="*/ 0 h 2"/>
              <a:gd name="T18" fmla="*/ 0 w 2"/>
              <a:gd name="T19" fmla="*/ 3175 h 2"/>
              <a:gd name="T20" fmla="*/ 3175 w 2"/>
              <a:gd name="T21" fmla="*/ 3175 h 2"/>
              <a:gd name="T22" fmla="*/ 3175 w 2"/>
              <a:gd name="T23" fmla="*/ 3175 h 2"/>
              <a:gd name="T24" fmla="*/ 3175 w 2"/>
              <a:gd name="T25" fmla="*/ 3175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63"/>
          <p:cNvSpPr>
            <a:spLocks/>
          </p:cNvSpPr>
          <p:nvPr/>
        </p:nvSpPr>
        <p:spPr bwMode="auto">
          <a:xfrm>
            <a:off x="611188" y="415925"/>
            <a:ext cx="6350" cy="3175"/>
          </a:xfrm>
          <a:custGeom>
            <a:avLst/>
            <a:gdLst>
              <a:gd name="T0" fmla="*/ 3175 w 4"/>
              <a:gd name="T1" fmla="*/ 3175 h 2"/>
              <a:gd name="T2" fmla="*/ 3175 w 4"/>
              <a:gd name="T3" fmla="*/ 3175 h 2"/>
              <a:gd name="T4" fmla="*/ 6350 w 4"/>
              <a:gd name="T5" fmla="*/ 3175 h 2"/>
              <a:gd name="T6" fmla="*/ 6350 w 4"/>
              <a:gd name="T7" fmla="*/ 0 h 2"/>
              <a:gd name="T8" fmla="*/ 6350 w 4"/>
              <a:gd name="T9" fmla="*/ 0 h 2"/>
              <a:gd name="T10" fmla="*/ 3175 w 4"/>
              <a:gd name="T11" fmla="*/ 0 h 2"/>
              <a:gd name="T12" fmla="*/ 3175 w 4"/>
              <a:gd name="T13" fmla="*/ 0 h 2"/>
              <a:gd name="T14" fmla="*/ 0 w 4"/>
              <a:gd name="T15" fmla="*/ 3175 h 2"/>
              <a:gd name="T16" fmla="*/ 3175 w 4"/>
              <a:gd name="T17" fmla="*/ 3175 h 2"/>
              <a:gd name="T18" fmla="*/ 3175 w 4"/>
              <a:gd name="T19" fmla="*/ 0 h 2"/>
              <a:gd name="T20" fmla="*/ 6350 w 4"/>
              <a:gd name="T21" fmla="*/ 3175 h 2"/>
              <a:gd name="T22" fmla="*/ 6350 w 4"/>
              <a:gd name="T23" fmla="*/ 0 h 2"/>
              <a:gd name="T24" fmla="*/ 6350 w 4"/>
              <a:gd name="T25" fmla="*/ 0 h 2"/>
              <a:gd name="T26" fmla="*/ 3175 w 4"/>
              <a:gd name="T27" fmla="*/ 0 h 2"/>
              <a:gd name="T28" fmla="*/ 3175 w 4"/>
              <a:gd name="T29" fmla="*/ 0 h 2"/>
              <a:gd name="T30" fmla="*/ 0 w 4"/>
              <a:gd name="T31" fmla="*/ 0 h 2"/>
              <a:gd name="T32" fmla="*/ 3175 w 4"/>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72"/>
          <p:cNvSpPr>
            <a:spLocks/>
          </p:cNvSpPr>
          <p:nvPr/>
        </p:nvSpPr>
        <p:spPr bwMode="auto">
          <a:xfrm>
            <a:off x="582613" y="476250"/>
            <a:ext cx="3175" cy="3175"/>
          </a:xfrm>
          <a:custGeom>
            <a:avLst/>
            <a:gdLst>
              <a:gd name="T0" fmla="*/ 0 w 2"/>
              <a:gd name="T1" fmla="*/ 3175 h 2"/>
              <a:gd name="T2" fmla="*/ 0 w 2"/>
              <a:gd name="T3" fmla="*/ 3175 h 2"/>
              <a:gd name="T4" fmla="*/ 3175 w 2"/>
              <a:gd name="T5" fmla="*/ 3175 h 2"/>
              <a:gd name="T6" fmla="*/ 0 w 2"/>
              <a:gd name="T7" fmla="*/ 0 h 2"/>
              <a:gd name="T8" fmla="*/ 0 w 2"/>
              <a:gd name="T9" fmla="*/ 0 h 2"/>
              <a:gd name="T10" fmla="*/ 0 w 2"/>
              <a:gd name="T11" fmla="*/ 0 h 2"/>
              <a:gd name="T12" fmla="*/ 0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0 w 2"/>
              <a:gd name="T59" fmla="*/ 3175 h 2"/>
              <a:gd name="T60" fmla="*/ 0 w 2"/>
              <a:gd name="T61" fmla="*/ 3175 h 2"/>
              <a:gd name="T62" fmla="*/ 0 w 2"/>
              <a:gd name="T63" fmla="*/ 3175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77"/>
          <p:cNvSpPr>
            <a:spLocks/>
          </p:cNvSpPr>
          <p:nvPr/>
        </p:nvSpPr>
        <p:spPr bwMode="auto">
          <a:xfrm>
            <a:off x="557213" y="534988"/>
            <a:ext cx="3175" cy="3175"/>
          </a:xfrm>
          <a:custGeom>
            <a:avLst/>
            <a:gdLst>
              <a:gd name="T0" fmla="*/ 0 w 2"/>
              <a:gd name="T1" fmla="*/ 3175 h 2"/>
              <a:gd name="T2" fmla="*/ 3175 w 2"/>
              <a:gd name="T3" fmla="*/ 3175 h 2"/>
              <a:gd name="T4" fmla="*/ 3175 w 2"/>
              <a:gd name="T5" fmla="*/ 3175 h 2"/>
              <a:gd name="T6" fmla="*/ 3175 w 2"/>
              <a:gd name="T7" fmla="*/ 0 h 2"/>
              <a:gd name="T8" fmla="*/ 3175 w 2"/>
              <a:gd name="T9" fmla="*/ 0 h 2"/>
              <a:gd name="T10" fmla="*/ 3175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3175 h 2"/>
              <a:gd name="T40" fmla="*/ 0 w 2"/>
              <a:gd name="T41" fmla="*/ 3175 h 2"/>
              <a:gd name="T42" fmla="*/ 3175 w 2"/>
              <a:gd name="T43" fmla="*/ 3175 h 2"/>
              <a:gd name="T44" fmla="*/ 3175 w 2"/>
              <a:gd name="T45" fmla="*/ 0 h 2"/>
              <a:gd name="T46" fmla="*/ 3175 w 2"/>
              <a:gd name="T47" fmla="*/ 0 h 2"/>
              <a:gd name="T48" fmla="*/ 3175 w 2"/>
              <a:gd name="T49" fmla="*/ 0 h 2"/>
              <a:gd name="T50" fmla="*/ 3175 w 2"/>
              <a:gd name="T51" fmla="*/ 0 h 2"/>
              <a:gd name="T52" fmla="*/ 3175 w 2"/>
              <a:gd name="T53" fmla="*/ 0 h 2"/>
              <a:gd name="T54" fmla="*/ 3175 w 2"/>
              <a:gd name="T55" fmla="*/ 0 h 2"/>
              <a:gd name="T56" fmla="*/ 3175 w 2"/>
              <a:gd name="T57" fmla="*/ 0 h 2"/>
              <a:gd name="T58" fmla="*/ 3175 w 2"/>
              <a:gd name="T59" fmla="*/ 0 h 2"/>
              <a:gd name="T60" fmla="*/ 3175 w 2"/>
              <a:gd name="T61" fmla="*/ 0 h 2"/>
              <a:gd name="T62" fmla="*/ 3175 w 2"/>
              <a:gd name="T63" fmla="*/ 0 h 2"/>
              <a:gd name="T64" fmla="*/ 3175 w 2"/>
              <a:gd name="T65" fmla="*/ 0 h 2"/>
              <a:gd name="T66" fmla="*/ 3175 w 2"/>
              <a:gd name="T67" fmla="*/ 3175 h 2"/>
              <a:gd name="T68" fmla="*/ 3175 w 2"/>
              <a:gd name="T69" fmla="*/ 0 h 2"/>
              <a:gd name="T70" fmla="*/ 3175 w 2"/>
              <a:gd name="T71" fmla="*/ 0 h 2"/>
              <a:gd name="T72" fmla="*/ 0 w 2"/>
              <a:gd name="T73" fmla="*/ 0 h 2"/>
              <a:gd name="T74" fmla="*/ 0 w 2"/>
              <a:gd name="T75" fmla="*/ 0 h 2"/>
              <a:gd name="T76" fmla="*/ 0 w 2"/>
              <a:gd name="T77" fmla="*/ 3175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80"/>
          <p:cNvSpPr>
            <a:spLocks/>
          </p:cNvSpPr>
          <p:nvPr/>
        </p:nvSpPr>
        <p:spPr bwMode="auto">
          <a:xfrm>
            <a:off x="560388" y="530225"/>
            <a:ext cx="3175" cy="4763"/>
          </a:xfrm>
          <a:custGeom>
            <a:avLst/>
            <a:gdLst>
              <a:gd name="T0" fmla="*/ 0 w 2"/>
              <a:gd name="T1" fmla="*/ 4763 h 3"/>
              <a:gd name="T2" fmla="*/ 0 w 2"/>
              <a:gd name="T3" fmla="*/ 4763 h 3"/>
              <a:gd name="T4" fmla="*/ 3175 w 2"/>
              <a:gd name="T5" fmla="*/ 4763 h 3"/>
              <a:gd name="T6" fmla="*/ 3175 w 2"/>
              <a:gd name="T7" fmla="*/ 4763 h 3"/>
              <a:gd name="T8" fmla="*/ 0 w 2"/>
              <a:gd name="T9" fmla="*/ 0 h 3"/>
              <a:gd name="T10" fmla="*/ 0 w 2"/>
              <a:gd name="T11" fmla="*/ 0 h 3"/>
              <a:gd name="T12" fmla="*/ 0 w 2"/>
              <a:gd name="T13" fmla="*/ 0 h 3"/>
              <a:gd name="T14" fmla="*/ 0 w 2"/>
              <a:gd name="T15" fmla="*/ 4763 h 3"/>
              <a:gd name="T16" fmla="*/ 0 w 2"/>
              <a:gd name="T17" fmla="*/ 4763 h 3"/>
              <a:gd name="T18" fmla="*/ 0 w 2"/>
              <a:gd name="T19" fmla="*/ 4763 h 3"/>
              <a:gd name="T20" fmla="*/ 0 w 2"/>
              <a:gd name="T21" fmla="*/ 4763 h 3"/>
              <a:gd name="T22" fmla="*/ 0 w 2"/>
              <a:gd name="T23" fmla="*/ 0 h 3"/>
              <a:gd name="T24" fmla="*/ 0 w 2"/>
              <a:gd name="T25" fmla="*/ 4763 h 3"/>
              <a:gd name="T26" fmla="*/ 0 w 2"/>
              <a:gd name="T27" fmla="*/ 4763 h 3"/>
              <a:gd name="T28" fmla="*/ 0 w 2"/>
              <a:gd name="T29" fmla="*/ 4763 h 3"/>
              <a:gd name="T30" fmla="*/ 0 w 2"/>
              <a:gd name="T31" fmla="*/ 4763 h 3"/>
              <a:gd name="T32" fmla="*/ 0 w 2"/>
              <a:gd name="T33" fmla="*/ 4763 h 3"/>
              <a:gd name="T34" fmla="*/ 0 w 2"/>
              <a:gd name="T35" fmla="*/ 4763 h 3"/>
              <a:gd name="T36" fmla="*/ 0 w 2"/>
              <a:gd name="T37" fmla="*/ 4763 h 3"/>
              <a:gd name="T38" fmla="*/ 0 w 2"/>
              <a:gd name="T39" fmla="*/ 4763 h 3"/>
              <a:gd name="T40" fmla="*/ 0 w 2"/>
              <a:gd name="T41" fmla="*/ 4763 h 3"/>
              <a:gd name="T42" fmla="*/ 0 w 2"/>
              <a:gd name="T43" fmla="*/ 4763 h 3"/>
              <a:gd name="T44" fmla="*/ 0 w 2"/>
              <a:gd name="T45" fmla="*/ 4763 h 3"/>
              <a:gd name="T46" fmla="*/ 0 w 2"/>
              <a:gd name="T47" fmla="*/ 4763 h 3"/>
              <a:gd name="T48" fmla="*/ 0 w 2"/>
              <a:gd name="T49" fmla="*/ 4763 h 3"/>
              <a:gd name="T50" fmla="*/ 0 w 2"/>
              <a:gd name="T51" fmla="*/ 4763 h 3"/>
              <a:gd name="T52" fmla="*/ 0 w 2"/>
              <a:gd name="T53" fmla="*/ 476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1210"/>
          <p:cNvSpPr>
            <a:spLocks/>
          </p:cNvSpPr>
          <p:nvPr/>
        </p:nvSpPr>
        <p:spPr bwMode="auto">
          <a:xfrm>
            <a:off x="595313" y="557213"/>
            <a:ext cx="3175" cy="3175"/>
          </a:xfrm>
          <a:custGeom>
            <a:avLst/>
            <a:gdLst>
              <a:gd name="T0" fmla="*/ 0 w 2"/>
              <a:gd name="T1" fmla="*/ 3175 h 2"/>
              <a:gd name="T2" fmla="*/ 0 w 2"/>
              <a:gd name="T3" fmla="*/ 3175 h 2"/>
              <a:gd name="T4" fmla="*/ 3175 w 2"/>
              <a:gd name="T5" fmla="*/ 3175 h 2"/>
              <a:gd name="T6" fmla="*/ 3175 w 2"/>
              <a:gd name="T7" fmla="*/ 0 h 2"/>
              <a:gd name="T8" fmla="*/ 3175 w 2"/>
              <a:gd name="T9" fmla="*/ 0 h 2"/>
              <a:gd name="T10" fmla="*/ 0 w 2"/>
              <a:gd name="T11" fmla="*/ 0 h 2"/>
              <a:gd name="T12" fmla="*/ 0 w 2"/>
              <a:gd name="T13" fmla="*/ 0 h 2"/>
              <a:gd name="T14" fmla="*/ 0 w 2"/>
              <a:gd name="T15" fmla="*/ 0 h 2"/>
              <a:gd name="T16" fmla="*/ 0 w 2"/>
              <a:gd name="T17" fmla="*/ 3175 h 2"/>
              <a:gd name="T18" fmla="*/ 0 w 2"/>
              <a:gd name="T19" fmla="*/ 3175 h 2"/>
              <a:gd name="T20" fmla="*/ 3175 w 2"/>
              <a:gd name="T21" fmla="*/ 3175 h 2"/>
              <a:gd name="T22" fmla="*/ 3175 w 2"/>
              <a:gd name="T23" fmla="*/ 0 h 2"/>
              <a:gd name="T24" fmla="*/ 3175 w 2"/>
              <a:gd name="T25" fmla="*/ 0 h 2"/>
              <a:gd name="T26" fmla="*/ 0 w 2"/>
              <a:gd name="T27" fmla="*/ 0 h 2"/>
              <a:gd name="T28" fmla="*/ 0 w 2"/>
              <a:gd name="T29" fmla="*/ 0 h 2"/>
              <a:gd name="T30" fmla="*/ 0 w 2"/>
              <a:gd name="T31" fmla="*/ 0 h 2"/>
              <a:gd name="T32" fmla="*/ 0 w 2"/>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214"/>
          <p:cNvSpPr>
            <a:spLocks/>
          </p:cNvSpPr>
          <p:nvPr/>
        </p:nvSpPr>
        <p:spPr bwMode="auto">
          <a:xfrm>
            <a:off x="595313" y="557213"/>
            <a:ext cx="3175" cy="3175"/>
          </a:xfrm>
          <a:custGeom>
            <a:avLst/>
            <a:gdLst>
              <a:gd name="T0" fmla="*/ 0 w 2"/>
              <a:gd name="T1" fmla="*/ 3175 h 2"/>
              <a:gd name="T2" fmla="*/ 3175 w 2"/>
              <a:gd name="T3" fmla="*/ 3175 h 2"/>
              <a:gd name="T4" fmla="*/ 0 w 2"/>
              <a:gd name="T5" fmla="*/ 0 h 2"/>
              <a:gd name="T6" fmla="*/ 0 w 2"/>
              <a:gd name="T7" fmla="*/ 3175 h 2"/>
              <a:gd name="T8" fmla="*/ 0 w 2"/>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29"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1221"/>
          <p:cNvSpPr>
            <a:spLocks/>
          </p:cNvSpPr>
          <p:nvPr/>
        </p:nvSpPr>
        <p:spPr bwMode="auto">
          <a:xfrm>
            <a:off x="731838" y="541338"/>
            <a:ext cx="3175" cy="3175"/>
          </a:xfrm>
          <a:custGeom>
            <a:avLst/>
            <a:gdLst>
              <a:gd name="T0" fmla="*/ 3175 w 2"/>
              <a:gd name="T1" fmla="*/ 0 h 2"/>
              <a:gd name="T2" fmla="*/ 3175 w 2"/>
              <a:gd name="T3" fmla="*/ 0 h 2"/>
              <a:gd name="T4" fmla="*/ 3175 w 2"/>
              <a:gd name="T5" fmla="*/ 0 h 2"/>
              <a:gd name="T6" fmla="*/ 0 w 2"/>
              <a:gd name="T7" fmla="*/ 0 h 2"/>
              <a:gd name="T8" fmla="*/ 0 w 2"/>
              <a:gd name="T9" fmla="*/ 0 h 2"/>
              <a:gd name="T10" fmla="*/ 0 w 2"/>
              <a:gd name="T11" fmla="*/ 3175 h 2"/>
              <a:gd name="T12" fmla="*/ 3175 w 2"/>
              <a:gd name="T13" fmla="*/ 0 h 2"/>
              <a:gd name="T14" fmla="*/ 3175 w 2"/>
              <a:gd name="T15" fmla="*/ 0 h 2"/>
              <a:gd name="T16" fmla="*/ 3175 w 2"/>
              <a:gd name="T17" fmla="*/ 0 h 2"/>
              <a:gd name="T18" fmla="*/ 0 w 2"/>
              <a:gd name="T19" fmla="*/ 0 h 2"/>
              <a:gd name="T20" fmla="*/ 0 w 2"/>
              <a:gd name="T21" fmla="*/ 0 h 2"/>
              <a:gd name="T22" fmla="*/ 0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34"/>
          <p:cNvSpPr>
            <a:spLocks/>
          </p:cNvSpPr>
          <p:nvPr/>
        </p:nvSpPr>
        <p:spPr bwMode="auto">
          <a:xfrm>
            <a:off x="722313" y="550863"/>
            <a:ext cx="3175" cy="1587"/>
          </a:xfrm>
          <a:custGeom>
            <a:avLst/>
            <a:gdLst>
              <a:gd name="T0" fmla="*/ 0 w 2"/>
              <a:gd name="T1" fmla="*/ 0 h 1587"/>
              <a:gd name="T2" fmla="*/ 0 w 2"/>
              <a:gd name="T3" fmla="*/ 0 h 1587"/>
              <a:gd name="T4" fmla="*/ 3175 w 2"/>
              <a:gd name="T5" fmla="*/ 0 h 1587"/>
              <a:gd name="T6" fmla="*/ 3175 w 2"/>
              <a:gd name="T7" fmla="*/ 0 h 1587"/>
              <a:gd name="T8" fmla="*/ 3175 w 2"/>
              <a:gd name="T9" fmla="*/ 0 h 1587"/>
              <a:gd name="T10" fmla="*/ 3175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3175 w 2"/>
              <a:gd name="T25" fmla="*/ 0 h 1587"/>
              <a:gd name="T26" fmla="*/ 3175 w 2"/>
              <a:gd name="T27" fmla="*/ 0 h 1587"/>
              <a:gd name="T28" fmla="*/ 3175 w 2"/>
              <a:gd name="T29" fmla="*/ 0 h 1587"/>
              <a:gd name="T30" fmla="*/ 0 w 2"/>
              <a:gd name="T31" fmla="*/ 0 h 1587"/>
              <a:gd name="T32" fmla="*/ 0 w 2"/>
              <a:gd name="T33" fmla="*/ 0 h 1587"/>
              <a:gd name="T34" fmla="*/ 3175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1240"/>
          <p:cNvSpPr>
            <a:spLocks/>
          </p:cNvSpPr>
          <p:nvPr/>
        </p:nvSpPr>
        <p:spPr bwMode="auto">
          <a:xfrm>
            <a:off x="728663" y="541338"/>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243"/>
          <p:cNvSpPr>
            <a:spLocks/>
          </p:cNvSpPr>
          <p:nvPr/>
        </p:nvSpPr>
        <p:spPr bwMode="auto">
          <a:xfrm>
            <a:off x="728663" y="538163"/>
            <a:ext cx="3175" cy="3175"/>
          </a:xfrm>
          <a:custGeom>
            <a:avLst/>
            <a:gdLst>
              <a:gd name="T0" fmla="*/ 3175 w 2"/>
              <a:gd name="T1" fmla="*/ 3175 h 2"/>
              <a:gd name="T2" fmla="*/ 3175 w 2"/>
              <a:gd name="T3" fmla="*/ 3175 h 2"/>
              <a:gd name="T4" fmla="*/ 3175 w 2"/>
              <a:gd name="T5" fmla="*/ 3175 h 2"/>
              <a:gd name="T6" fmla="*/ 3175 w 2"/>
              <a:gd name="T7" fmla="*/ 3175 h 2"/>
              <a:gd name="T8" fmla="*/ 0 w 2"/>
              <a:gd name="T9" fmla="*/ 3175 h 2"/>
              <a:gd name="T10" fmla="*/ 0 w 2"/>
              <a:gd name="T11" fmla="*/ 3175 h 2"/>
              <a:gd name="T12" fmla="*/ 3175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3175 w 2"/>
              <a:gd name="T39" fmla="*/ 3175 h 2"/>
              <a:gd name="T40" fmla="*/ 3175 w 2"/>
              <a:gd name="T41" fmla="*/ 3175 h 2"/>
              <a:gd name="T42" fmla="*/ 3175 w 2"/>
              <a:gd name="T43" fmla="*/ 3175 h 2"/>
              <a:gd name="T44" fmla="*/ 3175 w 2"/>
              <a:gd name="T45" fmla="*/ 3175 h 2"/>
              <a:gd name="T46" fmla="*/ 3175 w 2"/>
              <a:gd name="T47" fmla="*/ 3175 h 2"/>
              <a:gd name="T48" fmla="*/ 0 w 2"/>
              <a:gd name="T49" fmla="*/ 0 h 2"/>
              <a:gd name="T50" fmla="*/ 0 w 2"/>
              <a:gd name="T51" fmla="*/ 3175 h 2"/>
              <a:gd name="T52" fmla="*/ 0 w 2"/>
              <a:gd name="T53" fmla="*/ 3175 h 2"/>
              <a:gd name="T54" fmla="*/ 0 w 2"/>
              <a:gd name="T55" fmla="*/ 3175 h 2"/>
              <a:gd name="T56" fmla="*/ 3175 w 2"/>
              <a:gd name="T57" fmla="*/ 3175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46"/>
          <p:cNvSpPr>
            <a:spLocks/>
          </p:cNvSpPr>
          <p:nvPr/>
        </p:nvSpPr>
        <p:spPr bwMode="auto">
          <a:xfrm>
            <a:off x="725488" y="547688"/>
            <a:ext cx="3175" cy="3175"/>
          </a:xfrm>
          <a:custGeom>
            <a:avLst/>
            <a:gdLst>
              <a:gd name="T0" fmla="*/ 0 w 2"/>
              <a:gd name="T1" fmla="*/ 3175 h 2"/>
              <a:gd name="T2" fmla="*/ 0 w 2"/>
              <a:gd name="T3" fmla="*/ 3175 h 2"/>
              <a:gd name="T4" fmla="*/ 3175 w 2"/>
              <a:gd name="T5" fmla="*/ 0 h 2"/>
              <a:gd name="T6" fmla="*/ 3175 w 2"/>
              <a:gd name="T7" fmla="*/ 0 h 2"/>
              <a:gd name="T8" fmla="*/ 0 w 2"/>
              <a:gd name="T9" fmla="*/ 0 h 2"/>
              <a:gd name="T10" fmla="*/ 0 w 2"/>
              <a:gd name="T11" fmla="*/ 0 h 2"/>
              <a:gd name="T12" fmla="*/ 0 w 2"/>
              <a:gd name="T13" fmla="*/ 3175 h 2"/>
              <a:gd name="T14" fmla="*/ 0 w 2"/>
              <a:gd name="T15" fmla="*/ 3175 h 2"/>
              <a:gd name="T16" fmla="*/ 3175 w 2"/>
              <a:gd name="T17" fmla="*/ 0 h 2"/>
              <a:gd name="T18" fmla="*/ 3175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3175 h 2"/>
              <a:gd name="T48" fmla="*/ 0 w 2"/>
              <a:gd name="T49" fmla="*/ 3175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50"/>
          <p:cNvSpPr>
            <a:spLocks/>
          </p:cNvSpPr>
          <p:nvPr/>
        </p:nvSpPr>
        <p:spPr bwMode="auto">
          <a:xfrm>
            <a:off x="731838" y="53022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52"/>
          <p:cNvSpPr>
            <a:spLocks/>
          </p:cNvSpPr>
          <p:nvPr/>
        </p:nvSpPr>
        <p:spPr bwMode="auto">
          <a:xfrm>
            <a:off x="731838" y="527050"/>
            <a:ext cx="3175" cy="7938"/>
          </a:xfrm>
          <a:custGeom>
            <a:avLst/>
            <a:gdLst>
              <a:gd name="T0" fmla="*/ 3175 w 2"/>
              <a:gd name="T1" fmla="*/ 3175 h 5"/>
              <a:gd name="T2" fmla="*/ 3175 w 2"/>
              <a:gd name="T3" fmla="*/ 3175 h 5"/>
              <a:gd name="T4" fmla="*/ 0 w 2"/>
              <a:gd name="T5" fmla="*/ 0 h 5"/>
              <a:gd name="T6" fmla="*/ 0 w 2"/>
              <a:gd name="T7" fmla="*/ 3175 h 5"/>
              <a:gd name="T8" fmla="*/ 0 w 2"/>
              <a:gd name="T9" fmla="*/ 3175 h 5"/>
              <a:gd name="T10" fmla="*/ 3175 w 2"/>
              <a:gd name="T11" fmla="*/ 7938 h 5"/>
              <a:gd name="T12" fmla="*/ 3175 w 2"/>
              <a:gd name="T13" fmla="*/ 3175 h 5"/>
              <a:gd name="T14" fmla="*/ 3175 w 2"/>
              <a:gd name="T15" fmla="*/ 3175 h 5"/>
              <a:gd name="T16" fmla="*/ 0 w 2"/>
              <a:gd name="T17" fmla="*/ 0 h 5"/>
              <a:gd name="T18" fmla="*/ 0 w 2"/>
              <a:gd name="T19" fmla="*/ 3175 h 5"/>
              <a:gd name="T20" fmla="*/ 0 w 2"/>
              <a:gd name="T21" fmla="*/ 3175 h 5"/>
              <a:gd name="T22" fmla="*/ 3175 w 2"/>
              <a:gd name="T23" fmla="*/ 7938 h 5"/>
              <a:gd name="T24" fmla="*/ 3175 w 2"/>
              <a:gd name="T25" fmla="*/ 317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55"/>
          <p:cNvSpPr>
            <a:spLocks/>
          </p:cNvSpPr>
          <p:nvPr/>
        </p:nvSpPr>
        <p:spPr bwMode="auto">
          <a:xfrm>
            <a:off x="712788" y="550863"/>
            <a:ext cx="3175" cy="1587"/>
          </a:xfrm>
          <a:custGeom>
            <a:avLst/>
            <a:gdLst>
              <a:gd name="T0" fmla="*/ 0 w 2"/>
              <a:gd name="T1" fmla="*/ 0 h 1587"/>
              <a:gd name="T2" fmla="*/ 3175 w 2"/>
              <a:gd name="T3" fmla="*/ 0 h 1587"/>
              <a:gd name="T4" fmla="*/ 3175 w 2"/>
              <a:gd name="T5" fmla="*/ 0 h 1587"/>
              <a:gd name="T6" fmla="*/ 3175 w 2"/>
              <a:gd name="T7" fmla="*/ 0 h 1587"/>
              <a:gd name="T8" fmla="*/ 3175 w 2"/>
              <a:gd name="T9" fmla="*/ 0 h 1587"/>
              <a:gd name="T10" fmla="*/ 0 w 2"/>
              <a:gd name="T11" fmla="*/ 0 h 1587"/>
              <a:gd name="T12" fmla="*/ 0 w 2"/>
              <a:gd name="T13" fmla="*/ 0 h 1587"/>
              <a:gd name="T14" fmla="*/ 0 w 2"/>
              <a:gd name="T15" fmla="*/ 0 h 1587"/>
              <a:gd name="T16" fmla="*/ 0 w 2"/>
              <a:gd name="T17" fmla="*/ 0 h 1587"/>
              <a:gd name="T18" fmla="*/ 3175 w 2"/>
              <a:gd name="T19" fmla="*/ 0 h 1587"/>
              <a:gd name="T20" fmla="*/ 3175 w 2"/>
              <a:gd name="T21" fmla="*/ 0 h 1587"/>
              <a:gd name="T22" fmla="*/ 3175 w 2"/>
              <a:gd name="T23" fmla="*/ 0 h 1587"/>
              <a:gd name="T24" fmla="*/ 3175 w 2"/>
              <a:gd name="T25" fmla="*/ 0 h 1587"/>
              <a:gd name="T26" fmla="*/ 3175 w 2"/>
              <a:gd name="T27" fmla="*/ 0 h 1587"/>
              <a:gd name="T28" fmla="*/ 3175 w 2"/>
              <a:gd name="T29" fmla="*/ 0 h 1587"/>
              <a:gd name="T30" fmla="*/ 3175 w 2"/>
              <a:gd name="T31" fmla="*/ 0 h 1587"/>
              <a:gd name="T32" fmla="*/ 3175 w 2"/>
              <a:gd name="T33" fmla="*/ 0 h 1587"/>
              <a:gd name="T34" fmla="*/ 3175 w 2"/>
              <a:gd name="T35" fmla="*/ 0 h 1587"/>
              <a:gd name="T36" fmla="*/ 3175 w 2"/>
              <a:gd name="T37" fmla="*/ 0 h 1587"/>
              <a:gd name="T38" fmla="*/ 3175 w 2"/>
              <a:gd name="T39" fmla="*/ 0 h 1587"/>
              <a:gd name="T40" fmla="*/ 3175 w 2"/>
              <a:gd name="T41" fmla="*/ 0 h 1587"/>
              <a:gd name="T42" fmla="*/ 3175 w 2"/>
              <a:gd name="T43" fmla="*/ 0 h 1587"/>
              <a:gd name="T44" fmla="*/ 3175 w 2"/>
              <a:gd name="T45" fmla="*/ 0 h 1587"/>
              <a:gd name="T46" fmla="*/ 3175 w 2"/>
              <a:gd name="T47" fmla="*/ 0 h 1587"/>
              <a:gd name="T48" fmla="*/ 3175 w 2"/>
              <a:gd name="T49" fmla="*/ 0 h 1587"/>
              <a:gd name="T50" fmla="*/ 3175 w 2"/>
              <a:gd name="T51" fmla="*/ 0 h 1587"/>
              <a:gd name="T52" fmla="*/ 3175 w 2"/>
              <a:gd name="T53" fmla="*/ 0 h 1587"/>
              <a:gd name="T54" fmla="*/ 3175 w 2"/>
              <a:gd name="T55" fmla="*/ 0 h 1587"/>
              <a:gd name="T56" fmla="*/ 3175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2"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1269"/>
          <p:cNvSpPr>
            <a:spLocks/>
          </p:cNvSpPr>
          <p:nvPr/>
        </p:nvSpPr>
        <p:spPr bwMode="auto">
          <a:xfrm>
            <a:off x="728663" y="530225"/>
            <a:ext cx="3175" cy="4763"/>
          </a:xfrm>
          <a:custGeom>
            <a:avLst/>
            <a:gdLst>
              <a:gd name="T0" fmla="*/ 0 w 2"/>
              <a:gd name="T1" fmla="*/ 4763 h 3"/>
              <a:gd name="T2" fmla="*/ 3175 w 2"/>
              <a:gd name="T3" fmla="*/ 0 h 3"/>
              <a:gd name="T4" fmla="*/ 3175 w 2"/>
              <a:gd name="T5" fmla="*/ 0 h 3"/>
              <a:gd name="T6" fmla="*/ 3175 w 2"/>
              <a:gd name="T7" fmla="*/ 0 h 3"/>
              <a:gd name="T8" fmla="*/ 3175 w 2"/>
              <a:gd name="T9" fmla="*/ 0 h 3"/>
              <a:gd name="T10" fmla="*/ 0 w 2"/>
              <a:gd name="T11" fmla="*/ 0 h 3"/>
              <a:gd name="T12" fmla="*/ 0 w 2"/>
              <a:gd name="T13" fmla="*/ 0 h 3"/>
              <a:gd name="T14" fmla="*/ 0 w 2"/>
              <a:gd name="T15" fmla="*/ 4763 h 3"/>
              <a:gd name="T16" fmla="*/ 0 w 2"/>
              <a:gd name="T17" fmla="*/ 4763 h 3"/>
              <a:gd name="T18" fmla="*/ 3175 w 2"/>
              <a:gd name="T19" fmla="*/ 0 h 3"/>
              <a:gd name="T20" fmla="*/ 3175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4763 h 3"/>
              <a:gd name="T40" fmla="*/ 0 w 2"/>
              <a:gd name="T41" fmla="*/ 476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8"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9"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Freeform 1277"/>
          <p:cNvSpPr>
            <a:spLocks/>
          </p:cNvSpPr>
          <p:nvPr/>
        </p:nvSpPr>
        <p:spPr bwMode="auto">
          <a:xfrm>
            <a:off x="728663" y="523875"/>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Freeform 1287"/>
          <p:cNvSpPr>
            <a:spLocks/>
          </p:cNvSpPr>
          <p:nvPr/>
        </p:nvSpPr>
        <p:spPr bwMode="auto">
          <a:xfrm>
            <a:off x="719138" y="514350"/>
            <a:ext cx="3175" cy="3175"/>
          </a:xfrm>
          <a:custGeom>
            <a:avLst/>
            <a:gdLst>
              <a:gd name="T0" fmla="*/ 0 w 2"/>
              <a:gd name="T1" fmla="*/ 0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3175 h 2"/>
              <a:gd name="T18" fmla="*/ 0 w 2"/>
              <a:gd name="T19" fmla="*/ 3175 h 2"/>
              <a:gd name="T20" fmla="*/ 0 w 2"/>
              <a:gd name="T21" fmla="*/ 3175 h 2"/>
              <a:gd name="T22" fmla="*/ 0 w 2"/>
              <a:gd name="T23" fmla="*/ 3175 h 2"/>
              <a:gd name="T24" fmla="*/ 3175 w 2"/>
              <a:gd name="T25" fmla="*/ 3175 h 2"/>
              <a:gd name="T26" fmla="*/ 3175 w 2"/>
              <a:gd name="T27" fmla="*/ 3175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1290"/>
          <p:cNvSpPr>
            <a:spLocks/>
          </p:cNvSpPr>
          <p:nvPr/>
        </p:nvSpPr>
        <p:spPr bwMode="auto">
          <a:xfrm>
            <a:off x="719138" y="517525"/>
            <a:ext cx="3175" cy="3175"/>
          </a:xfrm>
          <a:custGeom>
            <a:avLst/>
            <a:gdLst>
              <a:gd name="T0" fmla="*/ 0 w 2"/>
              <a:gd name="T1" fmla="*/ 3175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0 h 2"/>
              <a:gd name="T18" fmla="*/ 0 w 2"/>
              <a:gd name="T19" fmla="*/ 0 h 2"/>
              <a:gd name="T20" fmla="*/ 3175 w 2"/>
              <a:gd name="T21" fmla="*/ 0 h 2"/>
              <a:gd name="T22" fmla="*/ 0 w 2"/>
              <a:gd name="T23" fmla="*/ 0 h 2"/>
              <a:gd name="T24" fmla="*/ 0 w 2"/>
              <a:gd name="T25" fmla="*/ 0 h 2"/>
              <a:gd name="T26" fmla="*/ 0 w 2"/>
              <a:gd name="T27" fmla="*/ 0 h 2"/>
              <a:gd name="T28" fmla="*/ 0 w 2"/>
              <a:gd name="T29" fmla="*/ 0 h 2"/>
              <a:gd name="T30" fmla="*/ 0 w 2"/>
              <a:gd name="T31" fmla="*/ 3175 h 2"/>
              <a:gd name="T32" fmla="*/ 0 w 2"/>
              <a:gd name="T33" fmla="*/ 3175 h 2"/>
              <a:gd name="T34" fmla="*/ 0 w 2"/>
              <a:gd name="T35" fmla="*/ 3175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3175 h 2"/>
              <a:gd name="T50" fmla="*/ 3175 w 2"/>
              <a:gd name="T51" fmla="*/ 3175 h 2"/>
              <a:gd name="T52" fmla="*/ 3175 w 2"/>
              <a:gd name="T53" fmla="*/ 0 h 2"/>
              <a:gd name="T54" fmla="*/ 3175 w 2"/>
              <a:gd name="T55" fmla="*/ 0 h 2"/>
              <a:gd name="T56" fmla="*/ 0 w 2"/>
              <a:gd name="T57" fmla="*/ 0 h 2"/>
              <a:gd name="T58" fmla="*/ 0 w 2"/>
              <a:gd name="T59" fmla="*/ 0 h 2"/>
              <a:gd name="T60" fmla="*/ 0 w 2"/>
              <a:gd name="T61" fmla="*/ 3175 h 2"/>
              <a:gd name="T62" fmla="*/ 0 w 2"/>
              <a:gd name="T63" fmla="*/ 3175 h 2"/>
              <a:gd name="T64" fmla="*/ 3175 w 2"/>
              <a:gd name="T65" fmla="*/ 3175 h 2"/>
              <a:gd name="T66" fmla="*/ 3175 w 2"/>
              <a:gd name="T67" fmla="*/ 3175 h 2"/>
              <a:gd name="T68" fmla="*/ 0 w 2"/>
              <a:gd name="T69" fmla="*/ 3175 h 2"/>
              <a:gd name="T70" fmla="*/ 0 w 2"/>
              <a:gd name="T71" fmla="*/ 3175 h 2"/>
              <a:gd name="T72" fmla="*/ 0 w 2"/>
              <a:gd name="T73" fmla="*/ 3175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5"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6"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7"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61"/>
          <p:cNvSpPr>
            <a:spLocks noChangeArrowheads="1"/>
          </p:cNvSpPr>
          <p:nvPr/>
        </p:nvSpPr>
        <p:spPr bwMode="auto">
          <a:xfrm>
            <a:off x="0" y="2828925"/>
            <a:ext cx="9144000" cy="176213"/>
          </a:xfrm>
          <a:prstGeom prst="rect">
            <a:avLst/>
          </a:prstGeom>
          <a:solidFill>
            <a:schemeClr val="bg1"/>
          </a:solidFill>
          <a:ln>
            <a:noFill/>
          </a:ln>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pic>
        <p:nvPicPr>
          <p:cNvPr id="6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70663" y="6200775"/>
            <a:ext cx="2306637"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TextBox 64"/>
          <p:cNvSpPr txBox="1">
            <a:spLocks noChangeArrowheads="1"/>
          </p:cNvSpPr>
          <p:nvPr userDrawn="1"/>
        </p:nvSpPr>
        <p:spPr bwMode="auto">
          <a:xfrm>
            <a:off x="2886075" y="73025"/>
            <a:ext cx="60325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600" b="1">
                <a:solidFill>
                  <a:schemeClr val="tx1"/>
                </a:solidFill>
                <a:latin typeface="Trebuchet MS" panose="020B0603020202020204" pitchFamily="34" charset="0"/>
                <a:ea typeface="MS PGothic" panose="020B0600070205080204" pitchFamily="34" charset="-128"/>
              </a:defRPr>
            </a:lvl1pPr>
            <a:lvl2pPr marL="742950" indent="-285750">
              <a:defRPr sz="1600" b="1">
                <a:solidFill>
                  <a:schemeClr val="tx1"/>
                </a:solidFill>
                <a:latin typeface="Trebuchet MS" panose="020B0603020202020204" pitchFamily="34" charset="0"/>
                <a:ea typeface="MS PGothic" panose="020B0600070205080204" pitchFamily="34" charset="-128"/>
              </a:defRPr>
            </a:lvl2pPr>
            <a:lvl3pPr marL="1143000" indent="-228600">
              <a:defRPr sz="1600" b="1">
                <a:solidFill>
                  <a:schemeClr val="tx1"/>
                </a:solidFill>
                <a:latin typeface="Trebuchet MS" panose="020B0603020202020204" pitchFamily="34" charset="0"/>
                <a:ea typeface="MS PGothic" panose="020B0600070205080204" pitchFamily="34" charset="-128"/>
              </a:defRPr>
            </a:lvl3pPr>
            <a:lvl4pPr marL="1600200" indent="-228600">
              <a:defRPr sz="1600" b="1">
                <a:solidFill>
                  <a:schemeClr val="tx1"/>
                </a:solidFill>
                <a:latin typeface="Trebuchet MS" panose="020B0603020202020204" pitchFamily="34" charset="0"/>
                <a:ea typeface="MS PGothic" panose="020B0600070205080204" pitchFamily="34" charset="-128"/>
              </a:defRPr>
            </a:lvl4pPr>
            <a:lvl5pPr marL="2057400" indent="-22860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algn="r" eaLnBrk="1" hangingPunct="1">
              <a:spcBef>
                <a:spcPts val="400"/>
              </a:spcBef>
            </a:pPr>
            <a:r>
              <a:rPr lang="en-US" altLang="en-US" sz="1400">
                <a:solidFill>
                  <a:srgbClr val="F2F2F2"/>
                </a:solidFill>
                <a:latin typeface="Arial Bold" panose="020B0704020202020204" pitchFamily="34" charset="0"/>
              </a:rPr>
              <a:t>Preliminary – for Internal Discussion</a:t>
            </a:r>
          </a:p>
        </p:txBody>
      </p:sp>
      <p:sp>
        <p:nvSpPr>
          <p:cNvPr id="330" name="Title 329"/>
          <p:cNvSpPr>
            <a:spLocks noGrp="1"/>
          </p:cNvSpPr>
          <p:nvPr>
            <p:ph type="title"/>
          </p:nvPr>
        </p:nvSpPr>
        <p:spPr>
          <a:xfrm>
            <a:off x="865910" y="1306550"/>
            <a:ext cx="7296726" cy="1353523"/>
          </a:xfrm>
          <a:prstGeom prst="rect">
            <a:avLst/>
          </a:prstGeom>
        </p:spPr>
        <p:txBody>
          <a:bodyPr lIns="0" tIns="0" rIns="0" bIns="0" anchor="b">
            <a:normAutofit/>
          </a:bodyPr>
          <a:lstStyle>
            <a:lvl1pPr>
              <a:defRPr sz="3800" b="1" cap="none"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851104" y="3074088"/>
            <a:ext cx="7328771" cy="2397495"/>
          </a:xfrm>
          <a:prstGeom prst="rect">
            <a:avLst/>
          </a:prstGeo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Tree>
    <p:extLst>
      <p:ext uri="{BB962C8B-B14F-4D97-AF65-F5344CB8AC3E}">
        <p14:creationId xmlns:p14="http://schemas.microsoft.com/office/powerpoint/2010/main" val="20648818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ue Section Slide">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rcRect t="13008" b="29047"/>
          <a:stretch>
            <a:fillRect/>
          </a:stretch>
        </p:blipFill>
        <p:spPr bwMode="auto">
          <a:xfrm>
            <a:off x="0" y="0"/>
            <a:ext cx="9144000" cy="6858000"/>
          </a:xfrm>
          <a:prstGeom prst="rect">
            <a:avLst/>
          </a:prstGeom>
          <a:blipFill dpi="0" rotWithShape="1">
            <a:blip r:embed="rId3"/>
            <a:srcRect t="13008" b="29047"/>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8"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570663" y="6200775"/>
            <a:ext cx="2306637"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6"/>
          <p:cNvSpPr txBox="1">
            <a:spLocks noChangeArrowheads="1"/>
          </p:cNvSpPr>
          <p:nvPr userDrawn="1"/>
        </p:nvSpPr>
        <p:spPr bwMode="auto">
          <a:xfrm>
            <a:off x="2886075" y="73025"/>
            <a:ext cx="60325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600" b="1">
                <a:solidFill>
                  <a:schemeClr val="tx1"/>
                </a:solidFill>
                <a:latin typeface="Trebuchet MS" panose="020B0603020202020204" pitchFamily="34" charset="0"/>
                <a:ea typeface="MS PGothic" panose="020B0600070205080204" pitchFamily="34" charset="-128"/>
              </a:defRPr>
            </a:lvl1pPr>
            <a:lvl2pPr marL="742950" indent="-285750">
              <a:defRPr sz="1600" b="1">
                <a:solidFill>
                  <a:schemeClr val="tx1"/>
                </a:solidFill>
                <a:latin typeface="Trebuchet MS" panose="020B0603020202020204" pitchFamily="34" charset="0"/>
                <a:ea typeface="MS PGothic" panose="020B0600070205080204" pitchFamily="34" charset="-128"/>
              </a:defRPr>
            </a:lvl2pPr>
            <a:lvl3pPr marL="1143000" indent="-228600">
              <a:defRPr sz="1600" b="1">
                <a:solidFill>
                  <a:schemeClr val="tx1"/>
                </a:solidFill>
                <a:latin typeface="Trebuchet MS" panose="020B0603020202020204" pitchFamily="34" charset="0"/>
                <a:ea typeface="MS PGothic" panose="020B0600070205080204" pitchFamily="34" charset="-128"/>
              </a:defRPr>
            </a:lvl3pPr>
            <a:lvl4pPr marL="1600200" indent="-228600">
              <a:defRPr sz="1600" b="1">
                <a:solidFill>
                  <a:schemeClr val="tx1"/>
                </a:solidFill>
                <a:latin typeface="Trebuchet MS" panose="020B0603020202020204" pitchFamily="34" charset="0"/>
                <a:ea typeface="MS PGothic" panose="020B0600070205080204" pitchFamily="34" charset="-128"/>
              </a:defRPr>
            </a:lvl4pPr>
            <a:lvl5pPr marL="2057400" indent="-22860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algn="r" eaLnBrk="1" hangingPunct="1">
              <a:spcBef>
                <a:spcPts val="400"/>
              </a:spcBef>
            </a:pPr>
            <a:r>
              <a:rPr lang="en-US" altLang="en-US" sz="1400">
                <a:solidFill>
                  <a:srgbClr val="F2F2F2"/>
                </a:solidFill>
                <a:latin typeface="Arial Bold" panose="020B0704020202020204" pitchFamily="34" charset="0"/>
              </a:rPr>
              <a:t>Preliminary – for Internal Discussion</a:t>
            </a:r>
          </a:p>
        </p:txBody>
      </p:sp>
      <p:sp>
        <p:nvSpPr>
          <p:cNvPr id="2" name="Title 1"/>
          <p:cNvSpPr>
            <a:spLocks noGrp="1"/>
          </p:cNvSpPr>
          <p:nvPr>
            <p:ph type="title"/>
          </p:nvPr>
        </p:nvSpPr>
        <p:spPr>
          <a:xfrm>
            <a:off x="357188" y="301625"/>
            <a:ext cx="8461375" cy="492125"/>
          </a:xfrm>
          <a:prstGeom prst="rect">
            <a:avLst/>
          </a:prstGeom>
        </p:spPr>
        <p:txBody>
          <a:bodyPr/>
          <a:lstStyle/>
          <a:p>
            <a:r>
              <a:rPr lang="en-US"/>
              <a:t>Click to edit Master title style</a:t>
            </a:r>
          </a:p>
        </p:txBody>
      </p:sp>
      <p:sp>
        <p:nvSpPr>
          <p:cNvPr id="6" name="Text Placeholder 331"/>
          <p:cNvSpPr>
            <a:spLocks noGrp="1"/>
          </p:cNvSpPr>
          <p:nvPr>
            <p:ph type="body" sz="quarter" idx="13"/>
          </p:nvPr>
        </p:nvSpPr>
        <p:spPr>
          <a:xfrm>
            <a:off x="1525172" y="2437317"/>
            <a:ext cx="6959257" cy="875885"/>
          </a:xfrm>
          <a:prstGeom prst="rect">
            <a:avLst/>
          </a:prstGeom>
        </p:spPr>
        <p:txBody>
          <a:bodyPr lIns="0" tIns="0" rIns="0" bIns="0">
            <a:normAutofit/>
          </a:bodyPr>
          <a:lstStyle>
            <a:lvl1pPr>
              <a:lnSpc>
                <a:spcPct val="100000"/>
              </a:lnSpc>
              <a:spcBef>
                <a:spcPts val="0"/>
              </a:spcBef>
              <a:defRPr sz="2600" b="0" i="0" cap="none"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7" name="Text Placeholder 331"/>
          <p:cNvSpPr>
            <a:spLocks noGrp="1"/>
          </p:cNvSpPr>
          <p:nvPr>
            <p:ph type="body" sz="quarter" idx="14"/>
          </p:nvPr>
        </p:nvSpPr>
        <p:spPr>
          <a:xfrm>
            <a:off x="1518897" y="1561432"/>
            <a:ext cx="6959257" cy="875885"/>
          </a:xfrm>
          <a:prstGeom prst="rect">
            <a:avLst/>
          </a:prstGeom>
        </p:spPr>
        <p:txBody>
          <a:bodyPr lIns="0" tIns="0" rIns="0" bIns="0">
            <a:normAutofit/>
          </a:bodyPr>
          <a:lstStyle>
            <a:lvl1pPr>
              <a:lnSpc>
                <a:spcPct val="100000"/>
              </a:lnSpc>
              <a:spcBef>
                <a:spcPts val="0"/>
              </a:spcBef>
              <a:defRPr sz="3600" b="1" i="0" cap="none"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10" name="Slide Number Placeholder 2"/>
          <p:cNvSpPr>
            <a:spLocks noGrp="1"/>
          </p:cNvSpPr>
          <p:nvPr>
            <p:ph type="sldNum" sz="quarter" idx="15"/>
          </p:nvPr>
        </p:nvSpPr>
        <p:spPr/>
        <p:txBody>
          <a:bodyPr/>
          <a:lstStyle>
            <a:lvl1pPr>
              <a:defRPr/>
            </a:lvl1pPr>
          </a:lstStyle>
          <a:p>
            <a:pPr>
              <a:defRPr/>
            </a:pPr>
            <a:fld id="{DBFDEA2F-5F02-4D92-A955-38DF9F1B37E0}" type="slidenum">
              <a:rPr lang="en-US"/>
              <a:pPr>
                <a:defRPr/>
              </a:pPr>
              <a:t>‹#›</a:t>
            </a:fld>
            <a:endParaRPr lang="en-US" dirty="0"/>
          </a:p>
        </p:txBody>
      </p:sp>
    </p:spTree>
    <p:extLst>
      <p:ext uri="{BB962C8B-B14F-4D97-AF65-F5344CB8AC3E}">
        <p14:creationId xmlns:p14="http://schemas.microsoft.com/office/powerpoint/2010/main" val="24273743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 Section Slide">
    <p:spTree>
      <p:nvGrpSpPr>
        <p:cNvPr id="1" name=""/>
        <p:cNvGrpSpPr/>
        <p:nvPr/>
      </p:nvGrpSpPr>
      <p:grpSpPr>
        <a:xfrm>
          <a:off x="0" y="0"/>
          <a:ext cx="0" cy="0"/>
          <a:chOff x="0" y="0"/>
          <a:chExt cx="0" cy="0"/>
        </a:xfrm>
      </p:grpSpPr>
      <p:sp>
        <p:nvSpPr>
          <p:cNvPr id="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8" name="Freeform 1098"/>
          <p:cNvSpPr>
            <a:spLocks/>
          </p:cNvSpPr>
          <p:nvPr/>
        </p:nvSpPr>
        <p:spPr bwMode="auto">
          <a:xfrm>
            <a:off x="487363" y="617538"/>
            <a:ext cx="3175" cy="1587"/>
          </a:xfrm>
          <a:custGeom>
            <a:avLst/>
            <a:gdLst>
              <a:gd name="T0" fmla="*/ 0 w 2"/>
              <a:gd name="T1" fmla="*/ 0 h 1587"/>
              <a:gd name="T2" fmla="*/ 3175 w 2"/>
              <a:gd name="T3" fmla="*/ 0 h 1587"/>
              <a:gd name="T4" fmla="*/ 3175 w 2"/>
              <a:gd name="T5" fmla="*/ 0 h 1587"/>
              <a:gd name="T6" fmla="*/ 3175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3175 w 2"/>
              <a:gd name="T35" fmla="*/ 0 h 1587"/>
              <a:gd name="T36" fmla="*/ 3175 w 2"/>
              <a:gd name="T37" fmla="*/ 0 h 1587"/>
              <a:gd name="T38" fmla="*/ 3175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Freeform 1115"/>
          <p:cNvSpPr>
            <a:spLocks/>
          </p:cNvSpPr>
          <p:nvPr/>
        </p:nvSpPr>
        <p:spPr bwMode="auto">
          <a:xfrm>
            <a:off x="458788" y="473075"/>
            <a:ext cx="3175" cy="3175"/>
          </a:xfrm>
          <a:custGeom>
            <a:avLst/>
            <a:gdLst>
              <a:gd name="T0" fmla="*/ 0 w 2"/>
              <a:gd name="T1" fmla="*/ 3175 h 2"/>
              <a:gd name="T2" fmla="*/ 0 w 2"/>
              <a:gd name="T3" fmla="*/ 3175 h 2"/>
              <a:gd name="T4" fmla="*/ 0 w 2"/>
              <a:gd name="T5" fmla="*/ 3175 h 2"/>
              <a:gd name="T6" fmla="*/ 0 w 2"/>
              <a:gd name="T7" fmla="*/ 3175 h 2"/>
              <a:gd name="T8" fmla="*/ 0 w 2"/>
              <a:gd name="T9" fmla="*/ 3175 h 2"/>
              <a:gd name="T10" fmla="*/ 0 w 2"/>
              <a:gd name="T11" fmla="*/ 3175 h 2"/>
              <a:gd name="T12" fmla="*/ 3175 w 2"/>
              <a:gd name="T13" fmla="*/ 3175 h 2"/>
              <a:gd name="T14" fmla="*/ 3175 w 2"/>
              <a:gd name="T15" fmla="*/ 3175 h 2"/>
              <a:gd name="T16" fmla="*/ 3175 w 2"/>
              <a:gd name="T17" fmla="*/ 0 h 2"/>
              <a:gd name="T18" fmla="*/ 0 w 2"/>
              <a:gd name="T19" fmla="*/ 3175 h 2"/>
              <a:gd name="T20" fmla="*/ 0 w 2"/>
              <a:gd name="T21" fmla="*/ 3175 h 2"/>
              <a:gd name="T22" fmla="*/ 0 w 2"/>
              <a:gd name="T23" fmla="*/ 3175 h 2"/>
              <a:gd name="T24" fmla="*/ 0 w 2"/>
              <a:gd name="T25" fmla="*/ 3175 h 2"/>
              <a:gd name="T26" fmla="*/ 0 w 2"/>
              <a:gd name="T27" fmla="*/ 3175 h 2"/>
              <a:gd name="T28" fmla="*/ 3175 w 2"/>
              <a:gd name="T29" fmla="*/ 3175 h 2"/>
              <a:gd name="T30" fmla="*/ 3175 w 2"/>
              <a:gd name="T31" fmla="*/ 3175 h 2"/>
              <a:gd name="T32" fmla="*/ 3175 w 2"/>
              <a:gd name="T33" fmla="*/ 3175 h 2"/>
              <a:gd name="T34" fmla="*/ 3175 w 2"/>
              <a:gd name="T35" fmla="*/ 3175 h 2"/>
              <a:gd name="T36" fmla="*/ 3175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3175 w 2"/>
              <a:gd name="T55" fmla="*/ 3175 h 2"/>
              <a:gd name="T56" fmla="*/ 0 w 2"/>
              <a:gd name="T57" fmla="*/ 3175 h 2"/>
              <a:gd name="T58" fmla="*/ 3175 w 2"/>
              <a:gd name="T59" fmla="*/ 3175 h 2"/>
              <a:gd name="T60" fmla="*/ 3175 w 2"/>
              <a:gd name="T61" fmla="*/ 3175 h 2"/>
              <a:gd name="T62" fmla="*/ 3175 w 2"/>
              <a:gd name="T63" fmla="*/ 3175 h 2"/>
              <a:gd name="T64" fmla="*/ 0 w 2"/>
              <a:gd name="T65" fmla="*/ 3175 h 2"/>
              <a:gd name="T66" fmla="*/ 0 w 2"/>
              <a:gd name="T67" fmla="*/ 3175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1120"/>
          <p:cNvSpPr>
            <a:spLocks/>
          </p:cNvSpPr>
          <p:nvPr/>
        </p:nvSpPr>
        <p:spPr bwMode="auto">
          <a:xfrm>
            <a:off x="458788" y="463550"/>
            <a:ext cx="3175" cy="3175"/>
          </a:xfrm>
          <a:custGeom>
            <a:avLst/>
            <a:gdLst>
              <a:gd name="T0" fmla="*/ 0 w 2"/>
              <a:gd name="T1" fmla="*/ 0 h 2"/>
              <a:gd name="T2" fmla="*/ 0 w 2"/>
              <a:gd name="T3" fmla="*/ 3175 h 2"/>
              <a:gd name="T4" fmla="*/ 0 w 2"/>
              <a:gd name="T5" fmla="*/ 3175 h 2"/>
              <a:gd name="T6" fmla="*/ 0 w 2"/>
              <a:gd name="T7" fmla="*/ 3175 h 2"/>
              <a:gd name="T8" fmla="*/ 3175 w 2"/>
              <a:gd name="T9" fmla="*/ 3175 h 2"/>
              <a:gd name="T10" fmla="*/ 3175 w 2"/>
              <a:gd name="T11" fmla="*/ 0 h 2"/>
              <a:gd name="T12" fmla="*/ 3175 w 2"/>
              <a:gd name="T13" fmla="*/ 0 h 2"/>
              <a:gd name="T14" fmla="*/ 3175 w 2"/>
              <a:gd name="T15" fmla="*/ 0 h 2"/>
              <a:gd name="T16" fmla="*/ 0 w 2"/>
              <a:gd name="T17" fmla="*/ 0 h 2"/>
              <a:gd name="T18" fmla="*/ 0 w 2"/>
              <a:gd name="T19" fmla="*/ 3175 h 2"/>
              <a:gd name="T20" fmla="*/ 0 w 2"/>
              <a:gd name="T21" fmla="*/ 3175 h 2"/>
              <a:gd name="T22" fmla="*/ 3175 w 2"/>
              <a:gd name="T23" fmla="*/ 0 h 2"/>
              <a:gd name="T24" fmla="*/ 3175 w 2"/>
              <a:gd name="T25" fmla="*/ 0 h 2"/>
              <a:gd name="T26" fmla="*/ 3175 w 2"/>
              <a:gd name="T27" fmla="*/ 0 h 2"/>
              <a:gd name="T28" fmla="*/ 3175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3175 w 2"/>
              <a:gd name="T47" fmla="*/ 3175 h 2"/>
              <a:gd name="T48" fmla="*/ 0 w 2"/>
              <a:gd name="T49" fmla="*/ 3175 h 2"/>
              <a:gd name="T50" fmla="*/ 0 w 2"/>
              <a:gd name="T51" fmla="*/ 3175 h 2"/>
              <a:gd name="T52" fmla="*/ 3175 w 2"/>
              <a:gd name="T53" fmla="*/ 3175 h 2"/>
              <a:gd name="T54" fmla="*/ 3175 w 2"/>
              <a:gd name="T55" fmla="*/ 3175 h 2"/>
              <a:gd name="T56" fmla="*/ 3175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134"/>
          <p:cNvSpPr>
            <a:spLocks/>
          </p:cNvSpPr>
          <p:nvPr/>
        </p:nvSpPr>
        <p:spPr bwMode="auto">
          <a:xfrm>
            <a:off x="703263" y="514350"/>
            <a:ext cx="3175" cy="6350"/>
          </a:xfrm>
          <a:custGeom>
            <a:avLst/>
            <a:gdLst>
              <a:gd name="T0" fmla="*/ 3175 w 2"/>
              <a:gd name="T1" fmla="*/ 6350 h 4"/>
              <a:gd name="T2" fmla="*/ 3175 w 2"/>
              <a:gd name="T3" fmla="*/ 6350 h 4"/>
              <a:gd name="T4" fmla="*/ 3175 w 2"/>
              <a:gd name="T5" fmla="*/ 6350 h 4"/>
              <a:gd name="T6" fmla="*/ 3175 w 2"/>
              <a:gd name="T7" fmla="*/ 3175 h 4"/>
              <a:gd name="T8" fmla="*/ 3175 w 2"/>
              <a:gd name="T9" fmla="*/ 0 h 4"/>
              <a:gd name="T10" fmla="*/ 3175 w 2"/>
              <a:gd name="T11" fmla="*/ 0 h 4"/>
              <a:gd name="T12" fmla="*/ 3175 w 2"/>
              <a:gd name="T13" fmla="*/ 0 h 4"/>
              <a:gd name="T14" fmla="*/ 0 w 2"/>
              <a:gd name="T15" fmla="*/ 3175 h 4"/>
              <a:gd name="T16" fmla="*/ 3175 w 2"/>
              <a:gd name="T17" fmla="*/ 6350 h 4"/>
              <a:gd name="T18" fmla="*/ 3175 w 2"/>
              <a:gd name="T19" fmla="*/ 3175 h 4"/>
              <a:gd name="T20" fmla="*/ 3175 w 2"/>
              <a:gd name="T21" fmla="*/ 3175 h 4"/>
              <a:gd name="T22" fmla="*/ 3175 w 2"/>
              <a:gd name="T23" fmla="*/ 0 h 4"/>
              <a:gd name="T24" fmla="*/ 3175 w 2"/>
              <a:gd name="T25" fmla="*/ 3175 h 4"/>
              <a:gd name="T26" fmla="*/ 3175 w 2"/>
              <a:gd name="T27" fmla="*/ 3175 h 4"/>
              <a:gd name="T28" fmla="*/ 3175 w 2"/>
              <a:gd name="T29" fmla="*/ 3175 h 4"/>
              <a:gd name="T30" fmla="*/ 3175 w 2"/>
              <a:gd name="T31" fmla="*/ 3175 h 4"/>
              <a:gd name="T32" fmla="*/ 3175 w 2"/>
              <a:gd name="T33" fmla="*/ 3175 h 4"/>
              <a:gd name="T34" fmla="*/ 3175 w 2"/>
              <a:gd name="T35" fmla="*/ 3175 h 4"/>
              <a:gd name="T36" fmla="*/ 3175 w 2"/>
              <a:gd name="T37" fmla="*/ 3175 h 4"/>
              <a:gd name="T38" fmla="*/ 3175 w 2"/>
              <a:gd name="T39" fmla="*/ 3175 h 4"/>
              <a:gd name="T40" fmla="*/ 3175 w 2"/>
              <a:gd name="T41" fmla="*/ 3175 h 4"/>
              <a:gd name="T42" fmla="*/ 3175 w 2"/>
              <a:gd name="T43" fmla="*/ 3175 h 4"/>
              <a:gd name="T44" fmla="*/ 3175 w 2"/>
              <a:gd name="T45" fmla="*/ 3175 h 4"/>
              <a:gd name="T46" fmla="*/ 3175 w 2"/>
              <a:gd name="T47" fmla="*/ 3175 h 4"/>
              <a:gd name="T48" fmla="*/ 3175 w 2"/>
              <a:gd name="T49" fmla="*/ 3175 h 4"/>
              <a:gd name="T50" fmla="*/ 3175 w 2"/>
              <a:gd name="T51" fmla="*/ 3175 h 4"/>
              <a:gd name="T52" fmla="*/ 0 w 2"/>
              <a:gd name="T53" fmla="*/ 3175 h 4"/>
              <a:gd name="T54" fmla="*/ 3175 w 2"/>
              <a:gd name="T55" fmla="*/ 6350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41"/>
          <p:cNvSpPr>
            <a:spLocks/>
          </p:cNvSpPr>
          <p:nvPr/>
        </p:nvSpPr>
        <p:spPr bwMode="auto">
          <a:xfrm>
            <a:off x="706438" y="479425"/>
            <a:ext cx="1587" cy="6350"/>
          </a:xfrm>
          <a:custGeom>
            <a:avLst/>
            <a:gdLst>
              <a:gd name="T0" fmla="*/ 0 w 1587"/>
              <a:gd name="T1" fmla="*/ 6350 h 4"/>
              <a:gd name="T2" fmla="*/ 0 w 1587"/>
              <a:gd name="T3" fmla="*/ 3175 h 4"/>
              <a:gd name="T4" fmla="*/ 0 w 1587"/>
              <a:gd name="T5" fmla="*/ 0 h 4"/>
              <a:gd name="T6" fmla="*/ 0 w 1587"/>
              <a:gd name="T7" fmla="*/ 0 h 4"/>
              <a:gd name="T8" fmla="*/ 0 w 1587"/>
              <a:gd name="T9" fmla="*/ 3175 h 4"/>
              <a:gd name="T10" fmla="*/ 0 w 1587"/>
              <a:gd name="T11" fmla="*/ 3175 h 4"/>
              <a:gd name="T12" fmla="*/ 0 w 1587"/>
              <a:gd name="T13" fmla="*/ 6350 h 4"/>
              <a:gd name="T14" fmla="*/ 0 w 1587"/>
              <a:gd name="T15" fmla="*/ 3175 h 4"/>
              <a:gd name="T16" fmla="*/ 0 w 1587"/>
              <a:gd name="T17" fmla="*/ 3175 h 4"/>
              <a:gd name="T18" fmla="*/ 0 w 1587"/>
              <a:gd name="T19" fmla="*/ 3175 h 4"/>
              <a:gd name="T20" fmla="*/ 0 w 1587"/>
              <a:gd name="T21" fmla="*/ 3175 h 4"/>
              <a:gd name="T22" fmla="*/ 0 w 1587"/>
              <a:gd name="T23" fmla="*/ 3175 h 4"/>
              <a:gd name="T24" fmla="*/ 0 w 1587"/>
              <a:gd name="T25" fmla="*/ 3175 h 4"/>
              <a:gd name="T26" fmla="*/ 0 w 1587"/>
              <a:gd name="T27" fmla="*/ 3175 h 4"/>
              <a:gd name="T28" fmla="*/ 0 w 1587"/>
              <a:gd name="T29" fmla="*/ 635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48"/>
          <p:cNvSpPr>
            <a:spLocks/>
          </p:cNvSpPr>
          <p:nvPr/>
        </p:nvSpPr>
        <p:spPr bwMode="auto">
          <a:xfrm>
            <a:off x="693738" y="460375"/>
            <a:ext cx="3175" cy="3175"/>
          </a:xfrm>
          <a:custGeom>
            <a:avLst/>
            <a:gdLst>
              <a:gd name="T0" fmla="*/ 3175 w 2"/>
              <a:gd name="T1" fmla="*/ 3175 h 2"/>
              <a:gd name="T2" fmla="*/ 3175 w 2"/>
              <a:gd name="T3" fmla="*/ 0 h 2"/>
              <a:gd name="T4" fmla="*/ 3175 w 2"/>
              <a:gd name="T5" fmla="*/ 0 h 2"/>
              <a:gd name="T6" fmla="*/ 3175 w 2"/>
              <a:gd name="T7" fmla="*/ 0 h 2"/>
              <a:gd name="T8" fmla="*/ 3175 w 2"/>
              <a:gd name="T9" fmla="*/ 0 h 2"/>
              <a:gd name="T10" fmla="*/ 0 w 2"/>
              <a:gd name="T11" fmla="*/ 0 h 2"/>
              <a:gd name="T12" fmla="*/ 0 w 2"/>
              <a:gd name="T13" fmla="*/ 0 h 2"/>
              <a:gd name="T14" fmla="*/ 0 w 2"/>
              <a:gd name="T15" fmla="*/ 3175 h 2"/>
              <a:gd name="T16" fmla="*/ 0 w 2"/>
              <a:gd name="T17" fmla="*/ 3175 h 2"/>
              <a:gd name="T18" fmla="*/ 0 w 2"/>
              <a:gd name="T19" fmla="*/ 3175 h 2"/>
              <a:gd name="T20" fmla="*/ 3175 w 2"/>
              <a:gd name="T21" fmla="*/ 3175 h 2"/>
              <a:gd name="T22" fmla="*/ 3175 w 2"/>
              <a:gd name="T23" fmla="*/ 3175 h 2"/>
              <a:gd name="T24" fmla="*/ 3175 w 2"/>
              <a:gd name="T25" fmla="*/ 0 h 2"/>
              <a:gd name="T26" fmla="*/ 3175 w 2"/>
              <a:gd name="T27" fmla="*/ 0 h 2"/>
              <a:gd name="T28" fmla="*/ 3175 w 2"/>
              <a:gd name="T29" fmla="*/ 0 h 2"/>
              <a:gd name="T30" fmla="*/ 0 w 2"/>
              <a:gd name="T31" fmla="*/ 3175 h 2"/>
              <a:gd name="T32" fmla="*/ 3175 w 2"/>
              <a:gd name="T33" fmla="*/ 3175 h 2"/>
              <a:gd name="T34" fmla="*/ 3175 w 2"/>
              <a:gd name="T35" fmla="*/ 0 h 2"/>
              <a:gd name="T36" fmla="*/ 0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3175 w 2"/>
              <a:gd name="T59" fmla="*/ 3175 h 2"/>
              <a:gd name="T60" fmla="*/ 3175 w 2"/>
              <a:gd name="T61" fmla="*/ 3175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50"/>
          <p:cNvSpPr>
            <a:spLocks/>
          </p:cNvSpPr>
          <p:nvPr/>
        </p:nvSpPr>
        <p:spPr bwMode="auto">
          <a:xfrm>
            <a:off x="684213" y="447675"/>
            <a:ext cx="1587" cy="3175"/>
          </a:xfrm>
          <a:custGeom>
            <a:avLst/>
            <a:gdLst>
              <a:gd name="T0" fmla="*/ 0 w 1587"/>
              <a:gd name="T1" fmla="*/ 3175 h 2"/>
              <a:gd name="T2" fmla="*/ 0 w 1587"/>
              <a:gd name="T3" fmla="*/ 0 h 2"/>
              <a:gd name="T4" fmla="*/ 0 w 1587"/>
              <a:gd name="T5" fmla="*/ 3175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52"/>
          <p:cNvSpPr>
            <a:spLocks/>
          </p:cNvSpPr>
          <p:nvPr/>
        </p:nvSpPr>
        <p:spPr bwMode="auto">
          <a:xfrm>
            <a:off x="684213" y="447675"/>
            <a:ext cx="3175" cy="3175"/>
          </a:xfrm>
          <a:custGeom>
            <a:avLst/>
            <a:gdLst>
              <a:gd name="T0" fmla="*/ 3175 w 2"/>
              <a:gd name="T1" fmla="*/ 0 h 2"/>
              <a:gd name="T2" fmla="*/ 0 w 2"/>
              <a:gd name="T3" fmla="*/ 0 h 2"/>
              <a:gd name="T4" fmla="*/ 0 w 2"/>
              <a:gd name="T5" fmla="*/ 0 h 2"/>
              <a:gd name="T6" fmla="*/ 0 w 2"/>
              <a:gd name="T7" fmla="*/ 0 h 2"/>
              <a:gd name="T8" fmla="*/ 0 w 2"/>
              <a:gd name="T9" fmla="*/ 3175 h 2"/>
              <a:gd name="T10" fmla="*/ 3175 w 2"/>
              <a:gd name="T11" fmla="*/ 3175 h 2"/>
              <a:gd name="T12" fmla="*/ 3175 w 2"/>
              <a:gd name="T13" fmla="*/ 0 h 2"/>
              <a:gd name="T14" fmla="*/ 0 w 2"/>
              <a:gd name="T15" fmla="*/ 0 h 2"/>
              <a:gd name="T16" fmla="*/ 0 w 2"/>
              <a:gd name="T17" fmla="*/ 0 h 2"/>
              <a:gd name="T18" fmla="*/ 0 w 2"/>
              <a:gd name="T19" fmla="*/ 0 h 2"/>
              <a:gd name="T20" fmla="*/ 0 w 2"/>
              <a:gd name="T21" fmla="*/ 3175 h 2"/>
              <a:gd name="T22" fmla="*/ 3175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54"/>
          <p:cNvSpPr>
            <a:spLocks/>
          </p:cNvSpPr>
          <p:nvPr/>
        </p:nvSpPr>
        <p:spPr bwMode="auto">
          <a:xfrm>
            <a:off x="665163" y="43497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6"/>
          <p:cNvSpPr>
            <a:spLocks/>
          </p:cNvSpPr>
          <p:nvPr/>
        </p:nvSpPr>
        <p:spPr bwMode="auto">
          <a:xfrm>
            <a:off x="665163" y="431800"/>
            <a:ext cx="3175" cy="3175"/>
          </a:xfrm>
          <a:custGeom>
            <a:avLst/>
            <a:gdLst>
              <a:gd name="T0" fmla="*/ 3175 w 2"/>
              <a:gd name="T1" fmla="*/ 3175 h 2"/>
              <a:gd name="T2" fmla="*/ 0 w 2"/>
              <a:gd name="T3" fmla="*/ 0 h 2"/>
              <a:gd name="T4" fmla="*/ 0 w 2"/>
              <a:gd name="T5" fmla="*/ 0 h 2"/>
              <a:gd name="T6" fmla="*/ 0 w 2"/>
              <a:gd name="T7" fmla="*/ 3175 h 2"/>
              <a:gd name="T8" fmla="*/ 3175 w 2"/>
              <a:gd name="T9" fmla="*/ 3175 h 2"/>
              <a:gd name="T10" fmla="*/ 3175 w 2"/>
              <a:gd name="T11" fmla="*/ 3175 h 2"/>
              <a:gd name="T12" fmla="*/ 3175 w 2"/>
              <a:gd name="T13" fmla="*/ 3175 h 2"/>
              <a:gd name="T14" fmla="*/ 0 w 2"/>
              <a:gd name="T15" fmla="*/ 0 h 2"/>
              <a:gd name="T16" fmla="*/ 0 w 2"/>
              <a:gd name="T17" fmla="*/ 0 h 2"/>
              <a:gd name="T18" fmla="*/ 0 w 2"/>
              <a:gd name="T19" fmla="*/ 3175 h 2"/>
              <a:gd name="T20" fmla="*/ 3175 w 2"/>
              <a:gd name="T21" fmla="*/ 3175 h 2"/>
              <a:gd name="T22" fmla="*/ 3175 w 2"/>
              <a:gd name="T23" fmla="*/ 3175 h 2"/>
              <a:gd name="T24" fmla="*/ 3175 w 2"/>
              <a:gd name="T25" fmla="*/ 3175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63"/>
          <p:cNvSpPr>
            <a:spLocks/>
          </p:cNvSpPr>
          <p:nvPr/>
        </p:nvSpPr>
        <p:spPr bwMode="auto">
          <a:xfrm>
            <a:off x="611188" y="415925"/>
            <a:ext cx="6350" cy="3175"/>
          </a:xfrm>
          <a:custGeom>
            <a:avLst/>
            <a:gdLst>
              <a:gd name="T0" fmla="*/ 3175 w 4"/>
              <a:gd name="T1" fmla="*/ 3175 h 2"/>
              <a:gd name="T2" fmla="*/ 3175 w 4"/>
              <a:gd name="T3" fmla="*/ 3175 h 2"/>
              <a:gd name="T4" fmla="*/ 6350 w 4"/>
              <a:gd name="T5" fmla="*/ 3175 h 2"/>
              <a:gd name="T6" fmla="*/ 6350 w 4"/>
              <a:gd name="T7" fmla="*/ 0 h 2"/>
              <a:gd name="T8" fmla="*/ 6350 w 4"/>
              <a:gd name="T9" fmla="*/ 0 h 2"/>
              <a:gd name="T10" fmla="*/ 3175 w 4"/>
              <a:gd name="T11" fmla="*/ 0 h 2"/>
              <a:gd name="T12" fmla="*/ 3175 w 4"/>
              <a:gd name="T13" fmla="*/ 0 h 2"/>
              <a:gd name="T14" fmla="*/ 0 w 4"/>
              <a:gd name="T15" fmla="*/ 3175 h 2"/>
              <a:gd name="T16" fmla="*/ 3175 w 4"/>
              <a:gd name="T17" fmla="*/ 3175 h 2"/>
              <a:gd name="T18" fmla="*/ 3175 w 4"/>
              <a:gd name="T19" fmla="*/ 0 h 2"/>
              <a:gd name="T20" fmla="*/ 6350 w 4"/>
              <a:gd name="T21" fmla="*/ 3175 h 2"/>
              <a:gd name="T22" fmla="*/ 6350 w 4"/>
              <a:gd name="T23" fmla="*/ 0 h 2"/>
              <a:gd name="T24" fmla="*/ 6350 w 4"/>
              <a:gd name="T25" fmla="*/ 0 h 2"/>
              <a:gd name="T26" fmla="*/ 3175 w 4"/>
              <a:gd name="T27" fmla="*/ 0 h 2"/>
              <a:gd name="T28" fmla="*/ 3175 w 4"/>
              <a:gd name="T29" fmla="*/ 0 h 2"/>
              <a:gd name="T30" fmla="*/ 0 w 4"/>
              <a:gd name="T31" fmla="*/ 0 h 2"/>
              <a:gd name="T32" fmla="*/ 3175 w 4"/>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72"/>
          <p:cNvSpPr>
            <a:spLocks/>
          </p:cNvSpPr>
          <p:nvPr/>
        </p:nvSpPr>
        <p:spPr bwMode="auto">
          <a:xfrm>
            <a:off x="582613" y="476250"/>
            <a:ext cx="3175" cy="3175"/>
          </a:xfrm>
          <a:custGeom>
            <a:avLst/>
            <a:gdLst>
              <a:gd name="T0" fmla="*/ 0 w 2"/>
              <a:gd name="T1" fmla="*/ 3175 h 2"/>
              <a:gd name="T2" fmla="*/ 0 w 2"/>
              <a:gd name="T3" fmla="*/ 3175 h 2"/>
              <a:gd name="T4" fmla="*/ 3175 w 2"/>
              <a:gd name="T5" fmla="*/ 3175 h 2"/>
              <a:gd name="T6" fmla="*/ 0 w 2"/>
              <a:gd name="T7" fmla="*/ 0 h 2"/>
              <a:gd name="T8" fmla="*/ 0 w 2"/>
              <a:gd name="T9" fmla="*/ 0 h 2"/>
              <a:gd name="T10" fmla="*/ 0 w 2"/>
              <a:gd name="T11" fmla="*/ 0 h 2"/>
              <a:gd name="T12" fmla="*/ 0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0 w 2"/>
              <a:gd name="T59" fmla="*/ 3175 h 2"/>
              <a:gd name="T60" fmla="*/ 0 w 2"/>
              <a:gd name="T61" fmla="*/ 3175 h 2"/>
              <a:gd name="T62" fmla="*/ 0 w 2"/>
              <a:gd name="T63" fmla="*/ 3175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77"/>
          <p:cNvSpPr>
            <a:spLocks/>
          </p:cNvSpPr>
          <p:nvPr/>
        </p:nvSpPr>
        <p:spPr bwMode="auto">
          <a:xfrm>
            <a:off x="557213" y="534988"/>
            <a:ext cx="3175" cy="3175"/>
          </a:xfrm>
          <a:custGeom>
            <a:avLst/>
            <a:gdLst>
              <a:gd name="T0" fmla="*/ 0 w 2"/>
              <a:gd name="T1" fmla="*/ 3175 h 2"/>
              <a:gd name="T2" fmla="*/ 3175 w 2"/>
              <a:gd name="T3" fmla="*/ 3175 h 2"/>
              <a:gd name="T4" fmla="*/ 3175 w 2"/>
              <a:gd name="T5" fmla="*/ 3175 h 2"/>
              <a:gd name="T6" fmla="*/ 3175 w 2"/>
              <a:gd name="T7" fmla="*/ 0 h 2"/>
              <a:gd name="T8" fmla="*/ 3175 w 2"/>
              <a:gd name="T9" fmla="*/ 0 h 2"/>
              <a:gd name="T10" fmla="*/ 3175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3175 h 2"/>
              <a:gd name="T40" fmla="*/ 0 w 2"/>
              <a:gd name="T41" fmla="*/ 3175 h 2"/>
              <a:gd name="T42" fmla="*/ 3175 w 2"/>
              <a:gd name="T43" fmla="*/ 3175 h 2"/>
              <a:gd name="T44" fmla="*/ 3175 w 2"/>
              <a:gd name="T45" fmla="*/ 0 h 2"/>
              <a:gd name="T46" fmla="*/ 3175 w 2"/>
              <a:gd name="T47" fmla="*/ 0 h 2"/>
              <a:gd name="T48" fmla="*/ 3175 w 2"/>
              <a:gd name="T49" fmla="*/ 0 h 2"/>
              <a:gd name="T50" fmla="*/ 3175 w 2"/>
              <a:gd name="T51" fmla="*/ 0 h 2"/>
              <a:gd name="T52" fmla="*/ 3175 w 2"/>
              <a:gd name="T53" fmla="*/ 0 h 2"/>
              <a:gd name="T54" fmla="*/ 3175 w 2"/>
              <a:gd name="T55" fmla="*/ 0 h 2"/>
              <a:gd name="T56" fmla="*/ 3175 w 2"/>
              <a:gd name="T57" fmla="*/ 0 h 2"/>
              <a:gd name="T58" fmla="*/ 3175 w 2"/>
              <a:gd name="T59" fmla="*/ 0 h 2"/>
              <a:gd name="T60" fmla="*/ 3175 w 2"/>
              <a:gd name="T61" fmla="*/ 0 h 2"/>
              <a:gd name="T62" fmla="*/ 3175 w 2"/>
              <a:gd name="T63" fmla="*/ 0 h 2"/>
              <a:gd name="T64" fmla="*/ 3175 w 2"/>
              <a:gd name="T65" fmla="*/ 0 h 2"/>
              <a:gd name="T66" fmla="*/ 3175 w 2"/>
              <a:gd name="T67" fmla="*/ 3175 h 2"/>
              <a:gd name="T68" fmla="*/ 3175 w 2"/>
              <a:gd name="T69" fmla="*/ 0 h 2"/>
              <a:gd name="T70" fmla="*/ 3175 w 2"/>
              <a:gd name="T71" fmla="*/ 0 h 2"/>
              <a:gd name="T72" fmla="*/ 0 w 2"/>
              <a:gd name="T73" fmla="*/ 0 h 2"/>
              <a:gd name="T74" fmla="*/ 0 w 2"/>
              <a:gd name="T75" fmla="*/ 0 h 2"/>
              <a:gd name="T76" fmla="*/ 0 w 2"/>
              <a:gd name="T77" fmla="*/ 3175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80"/>
          <p:cNvSpPr>
            <a:spLocks/>
          </p:cNvSpPr>
          <p:nvPr/>
        </p:nvSpPr>
        <p:spPr bwMode="auto">
          <a:xfrm>
            <a:off x="560388" y="530225"/>
            <a:ext cx="3175" cy="4763"/>
          </a:xfrm>
          <a:custGeom>
            <a:avLst/>
            <a:gdLst>
              <a:gd name="T0" fmla="*/ 0 w 2"/>
              <a:gd name="T1" fmla="*/ 4763 h 3"/>
              <a:gd name="T2" fmla="*/ 0 w 2"/>
              <a:gd name="T3" fmla="*/ 4763 h 3"/>
              <a:gd name="T4" fmla="*/ 3175 w 2"/>
              <a:gd name="T5" fmla="*/ 4763 h 3"/>
              <a:gd name="T6" fmla="*/ 3175 w 2"/>
              <a:gd name="T7" fmla="*/ 4763 h 3"/>
              <a:gd name="T8" fmla="*/ 0 w 2"/>
              <a:gd name="T9" fmla="*/ 0 h 3"/>
              <a:gd name="T10" fmla="*/ 0 w 2"/>
              <a:gd name="T11" fmla="*/ 0 h 3"/>
              <a:gd name="T12" fmla="*/ 0 w 2"/>
              <a:gd name="T13" fmla="*/ 0 h 3"/>
              <a:gd name="T14" fmla="*/ 0 w 2"/>
              <a:gd name="T15" fmla="*/ 4763 h 3"/>
              <a:gd name="T16" fmla="*/ 0 w 2"/>
              <a:gd name="T17" fmla="*/ 4763 h 3"/>
              <a:gd name="T18" fmla="*/ 0 w 2"/>
              <a:gd name="T19" fmla="*/ 4763 h 3"/>
              <a:gd name="T20" fmla="*/ 0 w 2"/>
              <a:gd name="T21" fmla="*/ 4763 h 3"/>
              <a:gd name="T22" fmla="*/ 0 w 2"/>
              <a:gd name="T23" fmla="*/ 0 h 3"/>
              <a:gd name="T24" fmla="*/ 0 w 2"/>
              <a:gd name="T25" fmla="*/ 4763 h 3"/>
              <a:gd name="T26" fmla="*/ 0 w 2"/>
              <a:gd name="T27" fmla="*/ 4763 h 3"/>
              <a:gd name="T28" fmla="*/ 0 w 2"/>
              <a:gd name="T29" fmla="*/ 4763 h 3"/>
              <a:gd name="T30" fmla="*/ 0 w 2"/>
              <a:gd name="T31" fmla="*/ 4763 h 3"/>
              <a:gd name="T32" fmla="*/ 0 w 2"/>
              <a:gd name="T33" fmla="*/ 4763 h 3"/>
              <a:gd name="T34" fmla="*/ 0 w 2"/>
              <a:gd name="T35" fmla="*/ 4763 h 3"/>
              <a:gd name="T36" fmla="*/ 0 w 2"/>
              <a:gd name="T37" fmla="*/ 4763 h 3"/>
              <a:gd name="T38" fmla="*/ 0 w 2"/>
              <a:gd name="T39" fmla="*/ 4763 h 3"/>
              <a:gd name="T40" fmla="*/ 0 w 2"/>
              <a:gd name="T41" fmla="*/ 4763 h 3"/>
              <a:gd name="T42" fmla="*/ 0 w 2"/>
              <a:gd name="T43" fmla="*/ 4763 h 3"/>
              <a:gd name="T44" fmla="*/ 0 w 2"/>
              <a:gd name="T45" fmla="*/ 4763 h 3"/>
              <a:gd name="T46" fmla="*/ 0 w 2"/>
              <a:gd name="T47" fmla="*/ 4763 h 3"/>
              <a:gd name="T48" fmla="*/ 0 w 2"/>
              <a:gd name="T49" fmla="*/ 4763 h 3"/>
              <a:gd name="T50" fmla="*/ 0 w 2"/>
              <a:gd name="T51" fmla="*/ 4763 h 3"/>
              <a:gd name="T52" fmla="*/ 0 w 2"/>
              <a:gd name="T53" fmla="*/ 476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210"/>
          <p:cNvSpPr>
            <a:spLocks/>
          </p:cNvSpPr>
          <p:nvPr/>
        </p:nvSpPr>
        <p:spPr bwMode="auto">
          <a:xfrm>
            <a:off x="595313" y="557213"/>
            <a:ext cx="3175" cy="3175"/>
          </a:xfrm>
          <a:custGeom>
            <a:avLst/>
            <a:gdLst>
              <a:gd name="T0" fmla="*/ 0 w 2"/>
              <a:gd name="T1" fmla="*/ 3175 h 2"/>
              <a:gd name="T2" fmla="*/ 0 w 2"/>
              <a:gd name="T3" fmla="*/ 3175 h 2"/>
              <a:gd name="T4" fmla="*/ 3175 w 2"/>
              <a:gd name="T5" fmla="*/ 3175 h 2"/>
              <a:gd name="T6" fmla="*/ 3175 w 2"/>
              <a:gd name="T7" fmla="*/ 0 h 2"/>
              <a:gd name="T8" fmla="*/ 3175 w 2"/>
              <a:gd name="T9" fmla="*/ 0 h 2"/>
              <a:gd name="T10" fmla="*/ 0 w 2"/>
              <a:gd name="T11" fmla="*/ 0 h 2"/>
              <a:gd name="T12" fmla="*/ 0 w 2"/>
              <a:gd name="T13" fmla="*/ 0 h 2"/>
              <a:gd name="T14" fmla="*/ 0 w 2"/>
              <a:gd name="T15" fmla="*/ 0 h 2"/>
              <a:gd name="T16" fmla="*/ 0 w 2"/>
              <a:gd name="T17" fmla="*/ 3175 h 2"/>
              <a:gd name="T18" fmla="*/ 0 w 2"/>
              <a:gd name="T19" fmla="*/ 3175 h 2"/>
              <a:gd name="T20" fmla="*/ 3175 w 2"/>
              <a:gd name="T21" fmla="*/ 3175 h 2"/>
              <a:gd name="T22" fmla="*/ 3175 w 2"/>
              <a:gd name="T23" fmla="*/ 0 h 2"/>
              <a:gd name="T24" fmla="*/ 3175 w 2"/>
              <a:gd name="T25" fmla="*/ 0 h 2"/>
              <a:gd name="T26" fmla="*/ 0 w 2"/>
              <a:gd name="T27" fmla="*/ 0 h 2"/>
              <a:gd name="T28" fmla="*/ 0 w 2"/>
              <a:gd name="T29" fmla="*/ 0 h 2"/>
              <a:gd name="T30" fmla="*/ 0 w 2"/>
              <a:gd name="T31" fmla="*/ 0 h 2"/>
              <a:gd name="T32" fmla="*/ 0 w 2"/>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1214"/>
          <p:cNvSpPr>
            <a:spLocks/>
          </p:cNvSpPr>
          <p:nvPr/>
        </p:nvSpPr>
        <p:spPr bwMode="auto">
          <a:xfrm>
            <a:off x="595313" y="557213"/>
            <a:ext cx="3175" cy="3175"/>
          </a:xfrm>
          <a:custGeom>
            <a:avLst/>
            <a:gdLst>
              <a:gd name="T0" fmla="*/ 0 w 2"/>
              <a:gd name="T1" fmla="*/ 3175 h 2"/>
              <a:gd name="T2" fmla="*/ 3175 w 2"/>
              <a:gd name="T3" fmla="*/ 3175 h 2"/>
              <a:gd name="T4" fmla="*/ 0 w 2"/>
              <a:gd name="T5" fmla="*/ 0 h 2"/>
              <a:gd name="T6" fmla="*/ 0 w 2"/>
              <a:gd name="T7" fmla="*/ 3175 h 2"/>
              <a:gd name="T8" fmla="*/ 0 w 2"/>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2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Freeform 1221"/>
          <p:cNvSpPr>
            <a:spLocks/>
          </p:cNvSpPr>
          <p:nvPr/>
        </p:nvSpPr>
        <p:spPr bwMode="auto">
          <a:xfrm>
            <a:off x="731838" y="541338"/>
            <a:ext cx="3175" cy="3175"/>
          </a:xfrm>
          <a:custGeom>
            <a:avLst/>
            <a:gdLst>
              <a:gd name="T0" fmla="*/ 3175 w 2"/>
              <a:gd name="T1" fmla="*/ 0 h 2"/>
              <a:gd name="T2" fmla="*/ 3175 w 2"/>
              <a:gd name="T3" fmla="*/ 0 h 2"/>
              <a:gd name="T4" fmla="*/ 3175 w 2"/>
              <a:gd name="T5" fmla="*/ 0 h 2"/>
              <a:gd name="T6" fmla="*/ 0 w 2"/>
              <a:gd name="T7" fmla="*/ 0 h 2"/>
              <a:gd name="T8" fmla="*/ 0 w 2"/>
              <a:gd name="T9" fmla="*/ 0 h 2"/>
              <a:gd name="T10" fmla="*/ 0 w 2"/>
              <a:gd name="T11" fmla="*/ 3175 h 2"/>
              <a:gd name="T12" fmla="*/ 3175 w 2"/>
              <a:gd name="T13" fmla="*/ 0 h 2"/>
              <a:gd name="T14" fmla="*/ 3175 w 2"/>
              <a:gd name="T15" fmla="*/ 0 h 2"/>
              <a:gd name="T16" fmla="*/ 3175 w 2"/>
              <a:gd name="T17" fmla="*/ 0 h 2"/>
              <a:gd name="T18" fmla="*/ 0 w 2"/>
              <a:gd name="T19" fmla="*/ 0 h 2"/>
              <a:gd name="T20" fmla="*/ 0 w 2"/>
              <a:gd name="T21" fmla="*/ 0 h 2"/>
              <a:gd name="T22" fmla="*/ 0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1234"/>
          <p:cNvSpPr>
            <a:spLocks/>
          </p:cNvSpPr>
          <p:nvPr/>
        </p:nvSpPr>
        <p:spPr bwMode="auto">
          <a:xfrm>
            <a:off x="722313" y="550863"/>
            <a:ext cx="3175" cy="1587"/>
          </a:xfrm>
          <a:custGeom>
            <a:avLst/>
            <a:gdLst>
              <a:gd name="T0" fmla="*/ 0 w 2"/>
              <a:gd name="T1" fmla="*/ 0 h 1587"/>
              <a:gd name="T2" fmla="*/ 0 w 2"/>
              <a:gd name="T3" fmla="*/ 0 h 1587"/>
              <a:gd name="T4" fmla="*/ 3175 w 2"/>
              <a:gd name="T5" fmla="*/ 0 h 1587"/>
              <a:gd name="T6" fmla="*/ 3175 w 2"/>
              <a:gd name="T7" fmla="*/ 0 h 1587"/>
              <a:gd name="T8" fmla="*/ 3175 w 2"/>
              <a:gd name="T9" fmla="*/ 0 h 1587"/>
              <a:gd name="T10" fmla="*/ 3175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3175 w 2"/>
              <a:gd name="T25" fmla="*/ 0 h 1587"/>
              <a:gd name="T26" fmla="*/ 3175 w 2"/>
              <a:gd name="T27" fmla="*/ 0 h 1587"/>
              <a:gd name="T28" fmla="*/ 3175 w 2"/>
              <a:gd name="T29" fmla="*/ 0 h 1587"/>
              <a:gd name="T30" fmla="*/ 0 w 2"/>
              <a:gd name="T31" fmla="*/ 0 h 1587"/>
              <a:gd name="T32" fmla="*/ 0 w 2"/>
              <a:gd name="T33" fmla="*/ 0 h 1587"/>
              <a:gd name="T34" fmla="*/ 3175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Freeform 1240"/>
          <p:cNvSpPr>
            <a:spLocks/>
          </p:cNvSpPr>
          <p:nvPr/>
        </p:nvSpPr>
        <p:spPr bwMode="auto">
          <a:xfrm>
            <a:off x="728663" y="541338"/>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1243"/>
          <p:cNvSpPr>
            <a:spLocks/>
          </p:cNvSpPr>
          <p:nvPr/>
        </p:nvSpPr>
        <p:spPr bwMode="auto">
          <a:xfrm>
            <a:off x="728663" y="538163"/>
            <a:ext cx="3175" cy="3175"/>
          </a:xfrm>
          <a:custGeom>
            <a:avLst/>
            <a:gdLst>
              <a:gd name="T0" fmla="*/ 3175 w 2"/>
              <a:gd name="T1" fmla="*/ 3175 h 2"/>
              <a:gd name="T2" fmla="*/ 3175 w 2"/>
              <a:gd name="T3" fmla="*/ 3175 h 2"/>
              <a:gd name="T4" fmla="*/ 3175 w 2"/>
              <a:gd name="T5" fmla="*/ 3175 h 2"/>
              <a:gd name="T6" fmla="*/ 3175 w 2"/>
              <a:gd name="T7" fmla="*/ 3175 h 2"/>
              <a:gd name="T8" fmla="*/ 0 w 2"/>
              <a:gd name="T9" fmla="*/ 3175 h 2"/>
              <a:gd name="T10" fmla="*/ 0 w 2"/>
              <a:gd name="T11" fmla="*/ 3175 h 2"/>
              <a:gd name="T12" fmla="*/ 3175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3175 w 2"/>
              <a:gd name="T39" fmla="*/ 3175 h 2"/>
              <a:gd name="T40" fmla="*/ 3175 w 2"/>
              <a:gd name="T41" fmla="*/ 3175 h 2"/>
              <a:gd name="T42" fmla="*/ 3175 w 2"/>
              <a:gd name="T43" fmla="*/ 3175 h 2"/>
              <a:gd name="T44" fmla="*/ 3175 w 2"/>
              <a:gd name="T45" fmla="*/ 3175 h 2"/>
              <a:gd name="T46" fmla="*/ 3175 w 2"/>
              <a:gd name="T47" fmla="*/ 3175 h 2"/>
              <a:gd name="T48" fmla="*/ 0 w 2"/>
              <a:gd name="T49" fmla="*/ 0 h 2"/>
              <a:gd name="T50" fmla="*/ 0 w 2"/>
              <a:gd name="T51" fmla="*/ 3175 h 2"/>
              <a:gd name="T52" fmla="*/ 0 w 2"/>
              <a:gd name="T53" fmla="*/ 3175 h 2"/>
              <a:gd name="T54" fmla="*/ 0 w 2"/>
              <a:gd name="T55" fmla="*/ 3175 h 2"/>
              <a:gd name="T56" fmla="*/ 3175 w 2"/>
              <a:gd name="T57" fmla="*/ 3175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246"/>
          <p:cNvSpPr>
            <a:spLocks/>
          </p:cNvSpPr>
          <p:nvPr/>
        </p:nvSpPr>
        <p:spPr bwMode="auto">
          <a:xfrm>
            <a:off x="725488" y="547688"/>
            <a:ext cx="3175" cy="3175"/>
          </a:xfrm>
          <a:custGeom>
            <a:avLst/>
            <a:gdLst>
              <a:gd name="T0" fmla="*/ 0 w 2"/>
              <a:gd name="T1" fmla="*/ 3175 h 2"/>
              <a:gd name="T2" fmla="*/ 0 w 2"/>
              <a:gd name="T3" fmla="*/ 3175 h 2"/>
              <a:gd name="T4" fmla="*/ 3175 w 2"/>
              <a:gd name="T5" fmla="*/ 0 h 2"/>
              <a:gd name="T6" fmla="*/ 3175 w 2"/>
              <a:gd name="T7" fmla="*/ 0 h 2"/>
              <a:gd name="T8" fmla="*/ 0 w 2"/>
              <a:gd name="T9" fmla="*/ 0 h 2"/>
              <a:gd name="T10" fmla="*/ 0 w 2"/>
              <a:gd name="T11" fmla="*/ 0 h 2"/>
              <a:gd name="T12" fmla="*/ 0 w 2"/>
              <a:gd name="T13" fmla="*/ 3175 h 2"/>
              <a:gd name="T14" fmla="*/ 0 w 2"/>
              <a:gd name="T15" fmla="*/ 3175 h 2"/>
              <a:gd name="T16" fmla="*/ 3175 w 2"/>
              <a:gd name="T17" fmla="*/ 0 h 2"/>
              <a:gd name="T18" fmla="*/ 3175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3175 h 2"/>
              <a:gd name="T48" fmla="*/ 0 w 2"/>
              <a:gd name="T49" fmla="*/ 3175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50"/>
          <p:cNvSpPr>
            <a:spLocks/>
          </p:cNvSpPr>
          <p:nvPr/>
        </p:nvSpPr>
        <p:spPr bwMode="auto">
          <a:xfrm>
            <a:off x="731838" y="53022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52"/>
          <p:cNvSpPr>
            <a:spLocks/>
          </p:cNvSpPr>
          <p:nvPr/>
        </p:nvSpPr>
        <p:spPr bwMode="auto">
          <a:xfrm>
            <a:off x="731838" y="527050"/>
            <a:ext cx="3175" cy="7938"/>
          </a:xfrm>
          <a:custGeom>
            <a:avLst/>
            <a:gdLst>
              <a:gd name="T0" fmla="*/ 3175 w 2"/>
              <a:gd name="T1" fmla="*/ 3175 h 5"/>
              <a:gd name="T2" fmla="*/ 3175 w 2"/>
              <a:gd name="T3" fmla="*/ 3175 h 5"/>
              <a:gd name="T4" fmla="*/ 0 w 2"/>
              <a:gd name="T5" fmla="*/ 0 h 5"/>
              <a:gd name="T6" fmla="*/ 0 w 2"/>
              <a:gd name="T7" fmla="*/ 3175 h 5"/>
              <a:gd name="T8" fmla="*/ 0 w 2"/>
              <a:gd name="T9" fmla="*/ 3175 h 5"/>
              <a:gd name="T10" fmla="*/ 3175 w 2"/>
              <a:gd name="T11" fmla="*/ 7938 h 5"/>
              <a:gd name="T12" fmla="*/ 3175 w 2"/>
              <a:gd name="T13" fmla="*/ 3175 h 5"/>
              <a:gd name="T14" fmla="*/ 3175 w 2"/>
              <a:gd name="T15" fmla="*/ 3175 h 5"/>
              <a:gd name="T16" fmla="*/ 0 w 2"/>
              <a:gd name="T17" fmla="*/ 0 h 5"/>
              <a:gd name="T18" fmla="*/ 0 w 2"/>
              <a:gd name="T19" fmla="*/ 3175 h 5"/>
              <a:gd name="T20" fmla="*/ 0 w 2"/>
              <a:gd name="T21" fmla="*/ 3175 h 5"/>
              <a:gd name="T22" fmla="*/ 3175 w 2"/>
              <a:gd name="T23" fmla="*/ 7938 h 5"/>
              <a:gd name="T24" fmla="*/ 3175 w 2"/>
              <a:gd name="T25" fmla="*/ 317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55"/>
          <p:cNvSpPr>
            <a:spLocks/>
          </p:cNvSpPr>
          <p:nvPr/>
        </p:nvSpPr>
        <p:spPr bwMode="auto">
          <a:xfrm>
            <a:off x="712788" y="550863"/>
            <a:ext cx="3175" cy="1587"/>
          </a:xfrm>
          <a:custGeom>
            <a:avLst/>
            <a:gdLst>
              <a:gd name="T0" fmla="*/ 0 w 2"/>
              <a:gd name="T1" fmla="*/ 0 h 1587"/>
              <a:gd name="T2" fmla="*/ 3175 w 2"/>
              <a:gd name="T3" fmla="*/ 0 h 1587"/>
              <a:gd name="T4" fmla="*/ 3175 w 2"/>
              <a:gd name="T5" fmla="*/ 0 h 1587"/>
              <a:gd name="T6" fmla="*/ 3175 w 2"/>
              <a:gd name="T7" fmla="*/ 0 h 1587"/>
              <a:gd name="T8" fmla="*/ 3175 w 2"/>
              <a:gd name="T9" fmla="*/ 0 h 1587"/>
              <a:gd name="T10" fmla="*/ 0 w 2"/>
              <a:gd name="T11" fmla="*/ 0 h 1587"/>
              <a:gd name="T12" fmla="*/ 0 w 2"/>
              <a:gd name="T13" fmla="*/ 0 h 1587"/>
              <a:gd name="T14" fmla="*/ 0 w 2"/>
              <a:gd name="T15" fmla="*/ 0 h 1587"/>
              <a:gd name="T16" fmla="*/ 0 w 2"/>
              <a:gd name="T17" fmla="*/ 0 h 1587"/>
              <a:gd name="T18" fmla="*/ 3175 w 2"/>
              <a:gd name="T19" fmla="*/ 0 h 1587"/>
              <a:gd name="T20" fmla="*/ 3175 w 2"/>
              <a:gd name="T21" fmla="*/ 0 h 1587"/>
              <a:gd name="T22" fmla="*/ 3175 w 2"/>
              <a:gd name="T23" fmla="*/ 0 h 1587"/>
              <a:gd name="T24" fmla="*/ 3175 w 2"/>
              <a:gd name="T25" fmla="*/ 0 h 1587"/>
              <a:gd name="T26" fmla="*/ 3175 w 2"/>
              <a:gd name="T27" fmla="*/ 0 h 1587"/>
              <a:gd name="T28" fmla="*/ 3175 w 2"/>
              <a:gd name="T29" fmla="*/ 0 h 1587"/>
              <a:gd name="T30" fmla="*/ 3175 w 2"/>
              <a:gd name="T31" fmla="*/ 0 h 1587"/>
              <a:gd name="T32" fmla="*/ 3175 w 2"/>
              <a:gd name="T33" fmla="*/ 0 h 1587"/>
              <a:gd name="T34" fmla="*/ 3175 w 2"/>
              <a:gd name="T35" fmla="*/ 0 h 1587"/>
              <a:gd name="T36" fmla="*/ 3175 w 2"/>
              <a:gd name="T37" fmla="*/ 0 h 1587"/>
              <a:gd name="T38" fmla="*/ 3175 w 2"/>
              <a:gd name="T39" fmla="*/ 0 h 1587"/>
              <a:gd name="T40" fmla="*/ 3175 w 2"/>
              <a:gd name="T41" fmla="*/ 0 h 1587"/>
              <a:gd name="T42" fmla="*/ 3175 w 2"/>
              <a:gd name="T43" fmla="*/ 0 h 1587"/>
              <a:gd name="T44" fmla="*/ 3175 w 2"/>
              <a:gd name="T45" fmla="*/ 0 h 1587"/>
              <a:gd name="T46" fmla="*/ 3175 w 2"/>
              <a:gd name="T47" fmla="*/ 0 h 1587"/>
              <a:gd name="T48" fmla="*/ 3175 w 2"/>
              <a:gd name="T49" fmla="*/ 0 h 1587"/>
              <a:gd name="T50" fmla="*/ 3175 w 2"/>
              <a:gd name="T51" fmla="*/ 0 h 1587"/>
              <a:gd name="T52" fmla="*/ 3175 w 2"/>
              <a:gd name="T53" fmla="*/ 0 h 1587"/>
              <a:gd name="T54" fmla="*/ 3175 w 2"/>
              <a:gd name="T55" fmla="*/ 0 h 1587"/>
              <a:gd name="T56" fmla="*/ 3175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269"/>
          <p:cNvSpPr>
            <a:spLocks/>
          </p:cNvSpPr>
          <p:nvPr/>
        </p:nvSpPr>
        <p:spPr bwMode="auto">
          <a:xfrm>
            <a:off x="728663" y="530225"/>
            <a:ext cx="3175" cy="4763"/>
          </a:xfrm>
          <a:custGeom>
            <a:avLst/>
            <a:gdLst>
              <a:gd name="T0" fmla="*/ 0 w 2"/>
              <a:gd name="T1" fmla="*/ 4763 h 3"/>
              <a:gd name="T2" fmla="*/ 3175 w 2"/>
              <a:gd name="T3" fmla="*/ 0 h 3"/>
              <a:gd name="T4" fmla="*/ 3175 w 2"/>
              <a:gd name="T5" fmla="*/ 0 h 3"/>
              <a:gd name="T6" fmla="*/ 3175 w 2"/>
              <a:gd name="T7" fmla="*/ 0 h 3"/>
              <a:gd name="T8" fmla="*/ 3175 w 2"/>
              <a:gd name="T9" fmla="*/ 0 h 3"/>
              <a:gd name="T10" fmla="*/ 0 w 2"/>
              <a:gd name="T11" fmla="*/ 0 h 3"/>
              <a:gd name="T12" fmla="*/ 0 w 2"/>
              <a:gd name="T13" fmla="*/ 0 h 3"/>
              <a:gd name="T14" fmla="*/ 0 w 2"/>
              <a:gd name="T15" fmla="*/ 4763 h 3"/>
              <a:gd name="T16" fmla="*/ 0 w 2"/>
              <a:gd name="T17" fmla="*/ 4763 h 3"/>
              <a:gd name="T18" fmla="*/ 3175 w 2"/>
              <a:gd name="T19" fmla="*/ 0 h 3"/>
              <a:gd name="T20" fmla="*/ 3175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4763 h 3"/>
              <a:gd name="T40" fmla="*/ 0 w 2"/>
              <a:gd name="T41" fmla="*/ 476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Freeform 1277"/>
          <p:cNvSpPr>
            <a:spLocks/>
          </p:cNvSpPr>
          <p:nvPr/>
        </p:nvSpPr>
        <p:spPr bwMode="auto">
          <a:xfrm>
            <a:off x="728663" y="523875"/>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Freeform 1287"/>
          <p:cNvSpPr>
            <a:spLocks/>
          </p:cNvSpPr>
          <p:nvPr/>
        </p:nvSpPr>
        <p:spPr bwMode="auto">
          <a:xfrm>
            <a:off x="719138" y="514350"/>
            <a:ext cx="3175" cy="3175"/>
          </a:xfrm>
          <a:custGeom>
            <a:avLst/>
            <a:gdLst>
              <a:gd name="T0" fmla="*/ 0 w 2"/>
              <a:gd name="T1" fmla="*/ 0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3175 h 2"/>
              <a:gd name="T18" fmla="*/ 0 w 2"/>
              <a:gd name="T19" fmla="*/ 3175 h 2"/>
              <a:gd name="T20" fmla="*/ 0 w 2"/>
              <a:gd name="T21" fmla="*/ 3175 h 2"/>
              <a:gd name="T22" fmla="*/ 0 w 2"/>
              <a:gd name="T23" fmla="*/ 3175 h 2"/>
              <a:gd name="T24" fmla="*/ 3175 w 2"/>
              <a:gd name="T25" fmla="*/ 3175 h 2"/>
              <a:gd name="T26" fmla="*/ 3175 w 2"/>
              <a:gd name="T27" fmla="*/ 3175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Freeform 1290"/>
          <p:cNvSpPr>
            <a:spLocks/>
          </p:cNvSpPr>
          <p:nvPr/>
        </p:nvSpPr>
        <p:spPr bwMode="auto">
          <a:xfrm>
            <a:off x="719138" y="517525"/>
            <a:ext cx="3175" cy="3175"/>
          </a:xfrm>
          <a:custGeom>
            <a:avLst/>
            <a:gdLst>
              <a:gd name="T0" fmla="*/ 0 w 2"/>
              <a:gd name="T1" fmla="*/ 3175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0 h 2"/>
              <a:gd name="T18" fmla="*/ 0 w 2"/>
              <a:gd name="T19" fmla="*/ 0 h 2"/>
              <a:gd name="T20" fmla="*/ 3175 w 2"/>
              <a:gd name="T21" fmla="*/ 0 h 2"/>
              <a:gd name="T22" fmla="*/ 0 w 2"/>
              <a:gd name="T23" fmla="*/ 0 h 2"/>
              <a:gd name="T24" fmla="*/ 0 w 2"/>
              <a:gd name="T25" fmla="*/ 0 h 2"/>
              <a:gd name="T26" fmla="*/ 0 w 2"/>
              <a:gd name="T27" fmla="*/ 0 h 2"/>
              <a:gd name="T28" fmla="*/ 0 w 2"/>
              <a:gd name="T29" fmla="*/ 0 h 2"/>
              <a:gd name="T30" fmla="*/ 0 w 2"/>
              <a:gd name="T31" fmla="*/ 3175 h 2"/>
              <a:gd name="T32" fmla="*/ 0 w 2"/>
              <a:gd name="T33" fmla="*/ 3175 h 2"/>
              <a:gd name="T34" fmla="*/ 0 w 2"/>
              <a:gd name="T35" fmla="*/ 3175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3175 h 2"/>
              <a:gd name="T50" fmla="*/ 3175 w 2"/>
              <a:gd name="T51" fmla="*/ 3175 h 2"/>
              <a:gd name="T52" fmla="*/ 3175 w 2"/>
              <a:gd name="T53" fmla="*/ 0 h 2"/>
              <a:gd name="T54" fmla="*/ 3175 w 2"/>
              <a:gd name="T55" fmla="*/ 0 h 2"/>
              <a:gd name="T56" fmla="*/ 0 w 2"/>
              <a:gd name="T57" fmla="*/ 0 h 2"/>
              <a:gd name="T58" fmla="*/ 0 w 2"/>
              <a:gd name="T59" fmla="*/ 0 h 2"/>
              <a:gd name="T60" fmla="*/ 0 w 2"/>
              <a:gd name="T61" fmla="*/ 3175 h 2"/>
              <a:gd name="T62" fmla="*/ 0 w 2"/>
              <a:gd name="T63" fmla="*/ 3175 h 2"/>
              <a:gd name="T64" fmla="*/ 3175 w 2"/>
              <a:gd name="T65" fmla="*/ 3175 h 2"/>
              <a:gd name="T66" fmla="*/ 3175 w 2"/>
              <a:gd name="T67" fmla="*/ 3175 h 2"/>
              <a:gd name="T68" fmla="*/ 0 w 2"/>
              <a:gd name="T69" fmla="*/ 3175 h 2"/>
              <a:gd name="T70" fmla="*/ 0 w 2"/>
              <a:gd name="T71" fmla="*/ 3175 h 2"/>
              <a:gd name="T72" fmla="*/ 0 w 2"/>
              <a:gd name="T73" fmla="*/ 3175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60"/>
          <p:cNvSpPr>
            <a:spLocks noChangeArrowheads="1"/>
          </p:cNvSpPr>
          <p:nvPr/>
        </p:nvSpPr>
        <p:spPr bwMode="auto">
          <a:xfrm>
            <a:off x="0" y="2828925"/>
            <a:ext cx="9144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pic>
        <p:nvPicPr>
          <p:cNvPr id="6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92888" y="6199188"/>
            <a:ext cx="23018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0" name="Title 329"/>
          <p:cNvSpPr>
            <a:spLocks noGrp="1"/>
          </p:cNvSpPr>
          <p:nvPr>
            <p:ph type="title"/>
          </p:nvPr>
        </p:nvSpPr>
        <p:spPr>
          <a:xfrm>
            <a:off x="865910" y="1306550"/>
            <a:ext cx="7296726" cy="1450437"/>
          </a:xfrm>
          <a:prstGeom prst="rect">
            <a:avLst/>
          </a:prstGeom>
        </p:spPr>
        <p:txBody>
          <a:bodyPr lIns="0" tIns="0" rIns="0" bIns="0" anchor="b">
            <a:normAutofit/>
          </a:bodyPr>
          <a:lstStyle>
            <a:lvl1pPr>
              <a:defRPr sz="3600" b="1" cap="none" baseline="0">
                <a:solidFill>
                  <a:schemeClr val="bg2"/>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851104" y="3074088"/>
            <a:ext cx="7328771" cy="2397495"/>
          </a:xfrm>
          <a:prstGeom prst="rect">
            <a:avLst/>
          </a:prstGeom>
        </p:spPr>
        <p:txBody>
          <a:bodyPr lIns="0" tIns="0" rIns="0" bIns="0">
            <a:normAutofit/>
          </a:bodyPr>
          <a:lstStyle>
            <a:lvl1pPr>
              <a:lnSpc>
                <a:spcPct val="100000"/>
              </a:lnSpc>
              <a:defRPr sz="3000" b="0" i="0" cap="none"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Tree>
    <p:extLst>
      <p:ext uri="{BB962C8B-B14F-4D97-AF65-F5344CB8AC3E}">
        <p14:creationId xmlns:p14="http://schemas.microsoft.com/office/powerpoint/2010/main" val="9322916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82155" y="1990667"/>
            <a:ext cx="4389768" cy="12472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custDataLst>
              <p:tags r:id="rId1"/>
            </p:custDataLst>
          </p:nvPr>
        </p:nvSpPr>
        <p:spPr/>
        <p:txBody>
          <a:bodyPr/>
          <a:lstStyle>
            <a:lvl1pPr>
              <a:defRPr/>
            </a:lvl1pPr>
          </a:lstStyle>
          <a:p>
            <a:pPr>
              <a:defRPr/>
            </a:pPr>
            <a:fld id="{6FEE698F-97FE-40F4-833A-EEE9E314B42B}" type="slidenum">
              <a:rPr lang="en-US"/>
              <a:pPr>
                <a:defRPr/>
              </a:pPr>
              <a:t>‹#›</a:t>
            </a:fld>
            <a:r>
              <a:rPr lang="en-US"/>
              <a:t> </a:t>
            </a:r>
          </a:p>
        </p:txBody>
      </p:sp>
    </p:spTree>
    <p:extLst>
      <p:ext uri="{BB962C8B-B14F-4D97-AF65-F5344CB8AC3E}">
        <p14:creationId xmlns:p14="http://schemas.microsoft.com/office/powerpoint/2010/main" val="17031830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rk Blue Section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9144000" cy="6858000"/>
          </a:xfrm>
          <a:prstGeom prst="rect">
            <a:avLst/>
          </a:prstGeom>
          <a:solidFill>
            <a:schemeClr val="tx1"/>
          </a:solidFill>
          <a:ln>
            <a:noFill/>
          </a:ln>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8"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9" name="Freeform 1098"/>
          <p:cNvSpPr>
            <a:spLocks/>
          </p:cNvSpPr>
          <p:nvPr/>
        </p:nvSpPr>
        <p:spPr bwMode="auto">
          <a:xfrm>
            <a:off x="487363" y="617538"/>
            <a:ext cx="3175" cy="1587"/>
          </a:xfrm>
          <a:custGeom>
            <a:avLst/>
            <a:gdLst>
              <a:gd name="T0" fmla="*/ 0 w 2"/>
              <a:gd name="T1" fmla="*/ 0 h 1587"/>
              <a:gd name="T2" fmla="*/ 3175 w 2"/>
              <a:gd name="T3" fmla="*/ 0 h 1587"/>
              <a:gd name="T4" fmla="*/ 3175 w 2"/>
              <a:gd name="T5" fmla="*/ 0 h 1587"/>
              <a:gd name="T6" fmla="*/ 3175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3175 w 2"/>
              <a:gd name="T35" fmla="*/ 0 h 1587"/>
              <a:gd name="T36" fmla="*/ 3175 w 2"/>
              <a:gd name="T37" fmla="*/ 0 h 1587"/>
              <a:gd name="T38" fmla="*/ 3175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1115"/>
          <p:cNvSpPr>
            <a:spLocks/>
          </p:cNvSpPr>
          <p:nvPr/>
        </p:nvSpPr>
        <p:spPr bwMode="auto">
          <a:xfrm>
            <a:off x="458788" y="473075"/>
            <a:ext cx="3175" cy="3175"/>
          </a:xfrm>
          <a:custGeom>
            <a:avLst/>
            <a:gdLst>
              <a:gd name="T0" fmla="*/ 0 w 2"/>
              <a:gd name="T1" fmla="*/ 3175 h 2"/>
              <a:gd name="T2" fmla="*/ 0 w 2"/>
              <a:gd name="T3" fmla="*/ 3175 h 2"/>
              <a:gd name="T4" fmla="*/ 0 w 2"/>
              <a:gd name="T5" fmla="*/ 3175 h 2"/>
              <a:gd name="T6" fmla="*/ 0 w 2"/>
              <a:gd name="T7" fmla="*/ 3175 h 2"/>
              <a:gd name="T8" fmla="*/ 0 w 2"/>
              <a:gd name="T9" fmla="*/ 3175 h 2"/>
              <a:gd name="T10" fmla="*/ 0 w 2"/>
              <a:gd name="T11" fmla="*/ 3175 h 2"/>
              <a:gd name="T12" fmla="*/ 3175 w 2"/>
              <a:gd name="T13" fmla="*/ 3175 h 2"/>
              <a:gd name="T14" fmla="*/ 3175 w 2"/>
              <a:gd name="T15" fmla="*/ 3175 h 2"/>
              <a:gd name="T16" fmla="*/ 3175 w 2"/>
              <a:gd name="T17" fmla="*/ 0 h 2"/>
              <a:gd name="T18" fmla="*/ 0 w 2"/>
              <a:gd name="T19" fmla="*/ 3175 h 2"/>
              <a:gd name="T20" fmla="*/ 0 w 2"/>
              <a:gd name="T21" fmla="*/ 3175 h 2"/>
              <a:gd name="T22" fmla="*/ 0 w 2"/>
              <a:gd name="T23" fmla="*/ 3175 h 2"/>
              <a:gd name="T24" fmla="*/ 0 w 2"/>
              <a:gd name="T25" fmla="*/ 3175 h 2"/>
              <a:gd name="T26" fmla="*/ 0 w 2"/>
              <a:gd name="T27" fmla="*/ 3175 h 2"/>
              <a:gd name="T28" fmla="*/ 3175 w 2"/>
              <a:gd name="T29" fmla="*/ 3175 h 2"/>
              <a:gd name="T30" fmla="*/ 3175 w 2"/>
              <a:gd name="T31" fmla="*/ 3175 h 2"/>
              <a:gd name="T32" fmla="*/ 3175 w 2"/>
              <a:gd name="T33" fmla="*/ 3175 h 2"/>
              <a:gd name="T34" fmla="*/ 3175 w 2"/>
              <a:gd name="T35" fmla="*/ 3175 h 2"/>
              <a:gd name="T36" fmla="*/ 3175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3175 w 2"/>
              <a:gd name="T55" fmla="*/ 3175 h 2"/>
              <a:gd name="T56" fmla="*/ 0 w 2"/>
              <a:gd name="T57" fmla="*/ 3175 h 2"/>
              <a:gd name="T58" fmla="*/ 3175 w 2"/>
              <a:gd name="T59" fmla="*/ 3175 h 2"/>
              <a:gd name="T60" fmla="*/ 3175 w 2"/>
              <a:gd name="T61" fmla="*/ 3175 h 2"/>
              <a:gd name="T62" fmla="*/ 3175 w 2"/>
              <a:gd name="T63" fmla="*/ 3175 h 2"/>
              <a:gd name="T64" fmla="*/ 0 w 2"/>
              <a:gd name="T65" fmla="*/ 3175 h 2"/>
              <a:gd name="T66" fmla="*/ 0 w 2"/>
              <a:gd name="T67" fmla="*/ 3175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120"/>
          <p:cNvSpPr>
            <a:spLocks/>
          </p:cNvSpPr>
          <p:nvPr/>
        </p:nvSpPr>
        <p:spPr bwMode="auto">
          <a:xfrm>
            <a:off x="458788" y="463550"/>
            <a:ext cx="3175" cy="3175"/>
          </a:xfrm>
          <a:custGeom>
            <a:avLst/>
            <a:gdLst>
              <a:gd name="T0" fmla="*/ 0 w 2"/>
              <a:gd name="T1" fmla="*/ 0 h 2"/>
              <a:gd name="T2" fmla="*/ 0 w 2"/>
              <a:gd name="T3" fmla="*/ 3175 h 2"/>
              <a:gd name="T4" fmla="*/ 0 w 2"/>
              <a:gd name="T5" fmla="*/ 3175 h 2"/>
              <a:gd name="T6" fmla="*/ 0 w 2"/>
              <a:gd name="T7" fmla="*/ 3175 h 2"/>
              <a:gd name="T8" fmla="*/ 3175 w 2"/>
              <a:gd name="T9" fmla="*/ 3175 h 2"/>
              <a:gd name="T10" fmla="*/ 3175 w 2"/>
              <a:gd name="T11" fmla="*/ 0 h 2"/>
              <a:gd name="T12" fmla="*/ 3175 w 2"/>
              <a:gd name="T13" fmla="*/ 0 h 2"/>
              <a:gd name="T14" fmla="*/ 3175 w 2"/>
              <a:gd name="T15" fmla="*/ 0 h 2"/>
              <a:gd name="T16" fmla="*/ 0 w 2"/>
              <a:gd name="T17" fmla="*/ 0 h 2"/>
              <a:gd name="T18" fmla="*/ 0 w 2"/>
              <a:gd name="T19" fmla="*/ 3175 h 2"/>
              <a:gd name="T20" fmla="*/ 0 w 2"/>
              <a:gd name="T21" fmla="*/ 3175 h 2"/>
              <a:gd name="T22" fmla="*/ 3175 w 2"/>
              <a:gd name="T23" fmla="*/ 0 h 2"/>
              <a:gd name="T24" fmla="*/ 3175 w 2"/>
              <a:gd name="T25" fmla="*/ 0 h 2"/>
              <a:gd name="T26" fmla="*/ 3175 w 2"/>
              <a:gd name="T27" fmla="*/ 0 h 2"/>
              <a:gd name="T28" fmla="*/ 3175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3175 w 2"/>
              <a:gd name="T47" fmla="*/ 3175 h 2"/>
              <a:gd name="T48" fmla="*/ 0 w 2"/>
              <a:gd name="T49" fmla="*/ 3175 h 2"/>
              <a:gd name="T50" fmla="*/ 0 w 2"/>
              <a:gd name="T51" fmla="*/ 3175 h 2"/>
              <a:gd name="T52" fmla="*/ 3175 w 2"/>
              <a:gd name="T53" fmla="*/ 3175 h 2"/>
              <a:gd name="T54" fmla="*/ 3175 w 2"/>
              <a:gd name="T55" fmla="*/ 3175 h 2"/>
              <a:gd name="T56" fmla="*/ 3175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34"/>
          <p:cNvSpPr>
            <a:spLocks/>
          </p:cNvSpPr>
          <p:nvPr/>
        </p:nvSpPr>
        <p:spPr bwMode="auto">
          <a:xfrm>
            <a:off x="703263" y="514350"/>
            <a:ext cx="3175" cy="6350"/>
          </a:xfrm>
          <a:custGeom>
            <a:avLst/>
            <a:gdLst>
              <a:gd name="T0" fmla="*/ 3175 w 2"/>
              <a:gd name="T1" fmla="*/ 6350 h 4"/>
              <a:gd name="T2" fmla="*/ 3175 w 2"/>
              <a:gd name="T3" fmla="*/ 6350 h 4"/>
              <a:gd name="T4" fmla="*/ 3175 w 2"/>
              <a:gd name="T5" fmla="*/ 6350 h 4"/>
              <a:gd name="T6" fmla="*/ 3175 w 2"/>
              <a:gd name="T7" fmla="*/ 3175 h 4"/>
              <a:gd name="T8" fmla="*/ 3175 w 2"/>
              <a:gd name="T9" fmla="*/ 0 h 4"/>
              <a:gd name="T10" fmla="*/ 3175 w 2"/>
              <a:gd name="T11" fmla="*/ 0 h 4"/>
              <a:gd name="T12" fmla="*/ 3175 w 2"/>
              <a:gd name="T13" fmla="*/ 0 h 4"/>
              <a:gd name="T14" fmla="*/ 0 w 2"/>
              <a:gd name="T15" fmla="*/ 3175 h 4"/>
              <a:gd name="T16" fmla="*/ 3175 w 2"/>
              <a:gd name="T17" fmla="*/ 6350 h 4"/>
              <a:gd name="T18" fmla="*/ 3175 w 2"/>
              <a:gd name="T19" fmla="*/ 3175 h 4"/>
              <a:gd name="T20" fmla="*/ 3175 w 2"/>
              <a:gd name="T21" fmla="*/ 3175 h 4"/>
              <a:gd name="T22" fmla="*/ 3175 w 2"/>
              <a:gd name="T23" fmla="*/ 0 h 4"/>
              <a:gd name="T24" fmla="*/ 3175 w 2"/>
              <a:gd name="T25" fmla="*/ 3175 h 4"/>
              <a:gd name="T26" fmla="*/ 3175 w 2"/>
              <a:gd name="T27" fmla="*/ 3175 h 4"/>
              <a:gd name="T28" fmla="*/ 3175 w 2"/>
              <a:gd name="T29" fmla="*/ 3175 h 4"/>
              <a:gd name="T30" fmla="*/ 3175 w 2"/>
              <a:gd name="T31" fmla="*/ 3175 h 4"/>
              <a:gd name="T32" fmla="*/ 3175 w 2"/>
              <a:gd name="T33" fmla="*/ 3175 h 4"/>
              <a:gd name="T34" fmla="*/ 3175 w 2"/>
              <a:gd name="T35" fmla="*/ 3175 h 4"/>
              <a:gd name="T36" fmla="*/ 3175 w 2"/>
              <a:gd name="T37" fmla="*/ 3175 h 4"/>
              <a:gd name="T38" fmla="*/ 3175 w 2"/>
              <a:gd name="T39" fmla="*/ 3175 h 4"/>
              <a:gd name="T40" fmla="*/ 3175 w 2"/>
              <a:gd name="T41" fmla="*/ 3175 h 4"/>
              <a:gd name="T42" fmla="*/ 3175 w 2"/>
              <a:gd name="T43" fmla="*/ 3175 h 4"/>
              <a:gd name="T44" fmla="*/ 3175 w 2"/>
              <a:gd name="T45" fmla="*/ 3175 h 4"/>
              <a:gd name="T46" fmla="*/ 3175 w 2"/>
              <a:gd name="T47" fmla="*/ 3175 h 4"/>
              <a:gd name="T48" fmla="*/ 3175 w 2"/>
              <a:gd name="T49" fmla="*/ 3175 h 4"/>
              <a:gd name="T50" fmla="*/ 3175 w 2"/>
              <a:gd name="T51" fmla="*/ 3175 h 4"/>
              <a:gd name="T52" fmla="*/ 0 w 2"/>
              <a:gd name="T53" fmla="*/ 3175 h 4"/>
              <a:gd name="T54" fmla="*/ 3175 w 2"/>
              <a:gd name="T55" fmla="*/ 6350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41"/>
          <p:cNvSpPr>
            <a:spLocks/>
          </p:cNvSpPr>
          <p:nvPr/>
        </p:nvSpPr>
        <p:spPr bwMode="auto">
          <a:xfrm>
            <a:off x="706438" y="479425"/>
            <a:ext cx="1587" cy="6350"/>
          </a:xfrm>
          <a:custGeom>
            <a:avLst/>
            <a:gdLst>
              <a:gd name="T0" fmla="*/ 0 w 1587"/>
              <a:gd name="T1" fmla="*/ 6350 h 4"/>
              <a:gd name="T2" fmla="*/ 0 w 1587"/>
              <a:gd name="T3" fmla="*/ 3175 h 4"/>
              <a:gd name="T4" fmla="*/ 0 w 1587"/>
              <a:gd name="T5" fmla="*/ 0 h 4"/>
              <a:gd name="T6" fmla="*/ 0 w 1587"/>
              <a:gd name="T7" fmla="*/ 0 h 4"/>
              <a:gd name="T8" fmla="*/ 0 w 1587"/>
              <a:gd name="T9" fmla="*/ 3175 h 4"/>
              <a:gd name="T10" fmla="*/ 0 w 1587"/>
              <a:gd name="T11" fmla="*/ 3175 h 4"/>
              <a:gd name="T12" fmla="*/ 0 w 1587"/>
              <a:gd name="T13" fmla="*/ 6350 h 4"/>
              <a:gd name="T14" fmla="*/ 0 w 1587"/>
              <a:gd name="T15" fmla="*/ 3175 h 4"/>
              <a:gd name="T16" fmla="*/ 0 w 1587"/>
              <a:gd name="T17" fmla="*/ 3175 h 4"/>
              <a:gd name="T18" fmla="*/ 0 w 1587"/>
              <a:gd name="T19" fmla="*/ 3175 h 4"/>
              <a:gd name="T20" fmla="*/ 0 w 1587"/>
              <a:gd name="T21" fmla="*/ 3175 h 4"/>
              <a:gd name="T22" fmla="*/ 0 w 1587"/>
              <a:gd name="T23" fmla="*/ 3175 h 4"/>
              <a:gd name="T24" fmla="*/ 0 w 1587"/>
              <a:gd name="T25" fmla="*/ 3175 h 4"/>
              <a:gd name="T26" fmla="*/ 0 w 1587"/>
              <a:gd name="T27" fmla="*/ 3175 h 4"/>
              <a:gd name="T28" fmla="*/ 0 w 1587"/>
              <a:gd name="T29" fmla="*/ 635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48"/>
          <p:cNvSpPr>
            <a:spLocks/>
          </p:cNvSpPr>
          <p:nvPr/>
        </p:nvSpPr>
        <p:spPr bwMode="auto">
          <a:xfrm>
            <a:off x="693738" y="460375"/>
            <a:ext cx="3175" cy="3175"/>
          </a:xfrm>
          <a:custGeom>
            <a:avLst/>
            <a:gdLst>
              <a:gd name="T0" fmla="*/ 3175 w 2"/>
              <a:gd name="T1" fmla="*/ 3175 h 2"/>
              <a:gd name="T2" fmla="*/ 3175 w 2"/>
              <a:gd name="T3" fmla="*/ 0 h 2"/>
              <a:gd name="T4" fmla="*/ 3175 w 2"/>
              <a:gd name="T5" fmla="*/ 0 h 2"/>
              <a:gd name="T6" fmla="*/ 3175 w 2"/>
              <a:gd name="T7" fmla="*/ 0 h 2"/>
              <a:gd name="T8" fmla="*/ 3175 w 2"/>
              <a:gd name="T9" fmla="*/ 0 h 2"/>
              <a:gd name="T10" fmla="*/ 0 w 2"/>
              <a:gd name="T11" fmla="*/ 0 h 2"/>
              <a:gd name="T12" fmla="*/ 0 w 2"/>
              <a:gd name="T13" fmla="*/ 0 h 2"/>
              <a:gd name="T14" fmla="*/ 0 w 2"/>
              <a:gd name="T15" fmla="*/ 3175 h 2"/>
              <a:gd name="T16" fmla="*/ 0 w 2"/>
              <a:gd name="T17" fmla="*/ 3175 h 2"/>
              <a:gd name="T18" fmla="*/ 0 w 2"/>
              <a:gd name="T19" fmla="*/ 3175 h 2"/>
              <a:gd name="T20" fmla="*/ 3175 w 2"/>
              <a:gd name="T21" fmla="*/ 3175 h 2"/>
              <a:gd name="T22" fmla="*/ 3175 w 2"/>
              <a:gd name="T23" fmla="*/ 3175 h 2"/>
              <a:gd name="T24" fmla="*/ 3175 w 2"/>
              <a:gd name="T25" fmla="*/ 0 h 2"/>
              <a:gd name="T26" fmla="*/ 3175 w 2"/>
              <a:gd name="T27" fmla="*/ 0 h 2"/>
              <a:gd name="T28" fmla="*/ 3175 w 2"/>
              <a:gd name="T29" fmla="*/ 0 h 2"/>
              <a:gd name="T30" fmla="*/ 0 w 2"/>
              <a:gd name="T31" fmla="*/ 3175 h 2"/>
              <a:gd name="T32" fmla="*/ 3175 w 2"/>
              <a:gd name="T33" fmla="*/ 3175 h 2"/>
              <a:gd name="T34" fmla="*/ 3175 w 2"/>
              <a:gd name="T35" fmla="*/ 0 h 2"/>
              <a:gd name="T36" fmla="*/ 0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3175 w 2"/>
              <a:gd name="T59" fmla="*/ 3175 h 2"/>
              <a:gd name="T60" fmla="*/ 3175 w 2"/>
              <a:gd name="T61" fmla="*/ 3175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50"/>
          <p:cNvSpPr>
            <a:spLocks/>
          </p:cNvSpPr>
          <p:nvPr/>
        </p:nvSpPr>
        <p:spPr bwMode="auto">
          <a:xfrm>
            <a:off x="684213" y="447675"/>
            <a:ext cx="1587" cy="3175"/>
          </a:xfrm>
          <a:custGeom>
            <a:avLst/>
            <a:gdLst>
              <a:gd name="T0" fmla="*/ 0 w 1587"/>
              <a:gd name="T1" fmla="*/ 3175 h 2"/>
              <a:gd name="T2" fmla="*/ 0 w 1587"/>
              <a:gd name="T3" fmla="*/ 0 h 2"/>
              <a:gd name="T4" fmla="*/ 0 w 1587"/>
              <a:gd name="T5" fmla="*/ 3175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52"/>
          <p:cNvSpPr>
            <a:spLocks/>
          </p:cNvSpPr>
          <p:nvPr/>
        </p:nvSpPr>
        <p:spPr bwMode="auto">
          <a:xfrm>
            <a:off x="684213" y="447675"/>
            <a:ext cx="3175" cy="3175"/>
          </a:xfrm>
          <a:custGeom>
            <a:avLst/>
            <a:gdLst>
              <a:gd name="T0" fmla="*/ 3175 w 2"/>
              <a:gd name="T1" fmla="*/ 0 h 2"/>
              <a:gd name="T2" fmla="*/ 0 w 2"/>
              <a:gd name="T3" fmla="*/ 0 h 2"/>
              <a:gd name="T4" fmla="*/ 0 w 2"/>
              <a:gd name="T5" fmla="*/ 0 h 2"/>
              <a:gd name="T6" fmla="*/ 0 w 2"/>
              <a:gd name="T7" fmla="*/ 0 h 2"/>
              <a:gd name="T8" fmla="*/ 0 w 2"/>
              <a:gd name="T9" fmla="*/ 3175 h 2"/>
              <a:gd name="T10" fmla="*/ 3175 w 2"/>
              <a:gd name="T11" fmla="*/ 3175 h 2"/>
              <a:gd name="T12" fmla="*/ 3175 w 2"/>
              <a:gd name="T13" fmla="*/ 0 h 2"/>
              <a:gd name="T14" fmla="*/ 0 w 2"/>
              <a:gd name="T15" fmla="*/ 0 h 2"/>
              <a:gd name="T16" fmla="*/ 0 w 2"/>
              <a:gd name="T17" fmla="*/ 0 h 2"/>
              <a:gd name="T18" fmla="*/ 0 w 2"/>
              <a:gd name="T19" fmla="*/ 0 h 2"/>
              <a:gd name="T20" fmla="*/ 0 w 2"/>
              <a:gd name="T21" fmla="*/ 3175 h 2"/>
              <a:gd name="T22" fmla="*/ 3175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4"/>
          <p:cNvSpPr>
            <a:spLocks/>
          </p:cNvSpPr>
          <p:nvPr/>
        </p:nvSpPr>
        <p:spPr bwMode="auto">
          <a:xfrm>
            <a:off x="665163" y="43497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6"/>
          <p:cNvSpPr>
            <a:spLocks/>
          </p:cNvSpPr>
          <p:nvPr/>
        </p:nvSpPr>
        <p:spPr bwMode="auto">
          <a:xfrm>
            <a:off x="665163" y="431800"/>
            <a:ext cx="3175" cy="3175"/>
          </a:xfrm>
          <a:custGeom>
            <a:avLst/>
            <a:gdLst>
              <a:gd name="T0" fmla="*/ 3175 w 2"/>
              <a:gd name="T1" fmla="*/ 3175 h 2"/>
              <a:gd name="T2" fmla="*/ 0 w 2"/>
              <a:gd name="T3" fmla="*/ 0 h 2"/>
              <a:gd name="T4" fmla="*/ 0 w 2"/>
              <a:gd name="T5" fmla="*/ 0 h 2"/>
              <a:gd name="T6" fmla="*/ 0 w 2"/>
              <a:gd name="T7" fmla="*/ 3175 h 2"/>
              <a:gd name="T8" fmla="*/ 3175 w 2"/>
              <a:gd name="T9" fmla="*/ 3175 h 2"/>
              <a:gd name="T10" fmla="*/ 3175 w 2"/>
              <a:gd name="T11" fmla="*/ 3175 h 2"/>
              <a:gd name="T12" fmla="*/ 3175 w 2"/>
              <a:gd name="T13" fmla="*/ 3175 h 2"/>
              <a:gd name="T14" fmla="*/ 0 w 2"/>
              <a:gd name="T15" fmla="*/ 0 h 2"/>
              <a:gd name="T16" fmla="*/ 0 w 2"/>
              <a:gd name="T17" fmla="*/ 0 h 2"/>
              <a:gd name="T18" fmla="*/ 0 w 2"/>
              <a:gd name="T19" fmla="*/ 3175 h 2"/>
              <a:gd name="T20" fmla="*/ 3175 w 2"/>
              <a:gd name="T21" fmla="*/ 3175 h 2"/>
              <a:gd name="T22" fmla="*/ 3175 w 2"/>
              <a:gd name="T23" fmla="*/ 3175 h 2"/>
              <a:gd name="T24" fmla="*/ 3175 w 2"/>
              <a:gd name="T25" fmla="*/ 3175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63"/>
          <p:cNvSpPr>
            <a:spLocks/>
          </p:cNvSpPr>
          <p:nvPr/>
        </p:nvSpPr>
        <p:spPr bwMode="auto">
          <a:xfrm>
            <a:off x="611188" y="415925"/>
            <a:ext cx="6350" cy="3175"/>
          </a:xfrm>
          <a:custGeom>
            <a:avLst/>
            <a:gdLst>
              <a:gd name="T0" fmla="*/ 3175 w 4"/>
              <a:gd name="T1" fmla="*/ 3175 h 2"/>
              <a:gd name="T2" fmla="*/ 3175 w 4"/>
              <a:gd name="T3" fmla="*/ 3175 h 2"/>
              <a:gd name="T4" fmla="*/ 6350 w 4"/>
              <a:gd name="T5" fmla="*/ 3175 h 2"/>
              <a:gd name="T6" fmla="*/ 6350 w 4"/>
              <a:gd name="T7" fmla="*/ 0 h 2"/>
              <a:gd name="T8" fmla="*/ 6350 w 4"/>
              <a:gd name="T9" fmla="*/ 0 h 2"/>
              <a:gd name="T10" fmla="*/ 3175 w 4"/>
              <a:gd name="T11" fmla="*/ 0 h 2"/>
              <a:gd name="T12" fmla="*/ 3175 w 4"/>
              <a:gd name="T13" fmla="*/ 0 h 2"/>
              <a:gd name="T14" fmla="*/ 0 w 4"/>
              <a:gd name="T15" fmla="*/ 3175 h 2"/>
              <a:gd name="T16" fmla="*/ 3175 w 4"/>
              <a:gd name="T17" fmla="*/ 3175 h 2"/>
              <a:gd name="T18" fmla="*/ 3175 w 4"/>
              <a:gd name="T19" fmla="*/ 0 h 2"/>
              <a:gd name="T20" fmla="*/ 6350 w 4"/>
              <a:gd name="T21" fmla="*/ 3175 h 2"/>
              <a:gd name="T22" fmla="*/ 6350 w 4"/>
              <a:gd name="T23" fmla="*/ 0 h 2"/>
              <a:gd name="T24" fmla="*/ 6350 w 4"/>
              <a:gd name="T25" fmla="*/ 0 h 2"/>
              <a:gd name="T26" fmla="*/ 3175 w 4"/>
              <a:gd name="T27" fmla="*/ 0 h 2"/>
              <a:gd name="T28" fmla="*/ 3175 w 4"/>
              <a:gd name="T29" fmla="*/ 0 h 2"/>
              <a:gd name="T30" fmla="*/ 0 w 4"/>
              <a:gd name="T31" fmla="*/ 0 h 2"/>
              <a:gd name="T32" fmla="*/ 3175 w 4"/>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72"/>
          <p:cNvSpPr>
            <a:spLocks/>
          </p:cNvSpPr>
          <p:nvPr/>
        </p:nvSpPr>
        <p:spPr bwMode="auto">
          <a:xfrm>
            <a:off x="582613" y="476250"/>
            <a:ext cx="3175" cy="3175"/>
          </a:xfrm>
          <a:custGeom>
            <a:avLst/>
            <a:gdLst>
              <a:gd name="T0" fmla="*/ 0 w 2"/>
              <a:gd name="T1" fmla="*/ 3175 h 2"/>
              <a:gd name="T2" fmla="*/ 0 w 2"/>
              <a:gd name="T3" fmla="*/ 3175 h 2"/>
              <a:gd name="T4" fmla="*/ 3175 w 2"/>
              <a:gd name="T5" fmla="*/ 3175 h 2"/>
              <a:gd name="T6" fmla="*/ 0 w 2"/>
              <a:gd name="T7" fmla="*/ 0 h 2"/>
              <a:gd name="T8" fmla="*/ 0 w 2"/>
              <a:gd name="T9" fmla="*/ 0 h 2"/>
              <a:gd name="T10" fmla="*/ 0 w 2"/>
              <a:gd name="T11" fmla="*/ 0 h 2"/>
              <a:gd name="T12" fmla="*/ 0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0 w 2"/>
              <a:gd name="T59" fmla="*/ 3175 h 2"/>
              <a:gd name="T60" fmla="*/ 0 w 2"/>
              <a:gd name="T61" fmla="*/ 3175 h 2"/>
              <a:gd name="T62" fmla="*/ 0 w 2"/>
              <a:gd name="T63" fmla="*/ 3175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77"/>
          <p:cNvSpPr>
            <a:spLocks/>
          </p:cNvSpPr>
          <p:nvPr/>
        </p:nvSpPr>
        <p:spPr bwMode="auto">
          <a:xfrm>
            <a:off x="557213" y="534988"/>
            <a:ext cx="3175" cy="3175"/>
          </a:xfrm>
          <a:custGeom>
            <a:avLst/>
            <a:gdLst>
              <a:gd name="T0" fmla="*/ 0 w 2"/>
              <a:gd name="T1" fmla="*/ 3175 h 2"/>
              <a:gd name="T2" fmla="*/ 3175 w 2"/>
              <a:gd name="T3" fmla="*/ 3175 h 2"/>
              <a:gd name="T4" fmla="*/ 3175 w 2"/>
              <a:gd name="T5" fmla="*/ 3175 h 2"/>
              <a:gd name="T6" fmla="*/ 3175 w 2"/>
              <a:gd name="T7" fmla="*/ 0 h 2"/>
              <a:gd name="T8" fmla="*/ 3175 w 2"/>
              <a:gd name="T9" fmla="*/ 0 h 2"/>
              <a:gd name="T10" fmla="*/ 3175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3175 h 2"/>
              <a:gd name="T40" fmla="*/ 0 w 2"/>
              <a:gd name="T41" fmla="*/ 3175 h 2"/>
              <a:gd name="T42" fmla="*/ 3175 w 2"/>
              <a:gd name="T43" fmla="*/ 3175 h 2"/>
              <a:gd name="T44" fmla="*/ 3175 w 2"/>
              <a:gd name="T45" fmla="*/ 0 h 2"/>
              <a:gd name="T46" fmla="*/ 3175 w 2"/>
              <a:gd name="T47" fmla="*/ 0 h 2"/>
              <a:gd name="T48" fmla="*/ 3175 w 2"/>
              <a:gd name="T49" fmla="*/ 0 h 2"/>
              <a:gd name="T50" fmla="*/ 3175 w 2"/>
              <a:gd name="T51" fmla="*/ 0 h 2"/>
              <a:gd name="T52" fmla="*/ 3175 w 2"/>
              <a:gd name="T53" fmla="*/ 0 h 2"/>
              <a:gd name="T54" fmla="*/ 3175 w 2"/>
              <a:gd name="T55" fmla="*/ 0 h 2"/>
              <a:gd name="T56" fmla="*/ 3175 w 2"/>
              <a:gd name="T57" fmla="*/ 0 h 2"/>
              <a:gd name="T58" fmla="*/ 3175 w 2"/>
              <a:gd name="T59" fmla="*/ 0 h 2"/>
              <a:gd name="T60" fmla="*/ 3175 w 2"/>
              <a:gd name="T61" fmla="*/ 0 h 2"/>
              <a:gd name="T62" fmla="*/ 3175 w 2"/>
              <a:gd name="T63" fmla="*/ 0 h 2"/>
              <a:gd name="T64" fmla="*/ 3175 w 2"/>
              <a:gd name="T65" fmla="*/ 0 h 2"/>
              <a:gd name="T66" fmla="*/ 3175 w 2"/>
              <a:gd name="T67" fmla="*/ 3175 h 2"/>
              <a:gd name="T68" fmla="*/ 3175 w 2"/>
              <a:gd name="T69" fmla="*/ 0 h 2"/>
              <a:gd name="T70" fmla="*/ 3175 w 2"/>
              <a:gd name="T71" fmla="*/ 0 h 2"/>
              <a:gd name="T72" fmla="*/ 0 w 2"/>
              <a:gd name="T73" fmla="*/ 0 h 2"/>
              <a:gd name="T74" fmla="*/ 0 w 2"/>
              <a:gd name="T75" fmla="*/ 0 h 2"/>
              <a:gd name="T76" fmla="*/ 0 w 2"/>
              <a:gd name="T77" fmla="*/ 3175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80"/>
          <p:cNvSpPr>
            <a:spLocks/>
          </p:cNvSpPr>
          <p:nvPr/>
        </p:nvSpPr>
        <p:spPr bwMode="auto">
          <a:xfrm>
            <a:off x="560388" y="530225"/>
            <a:ext cx="3175" cy="4763"/>
          </a:xfrm>
          <a:custGeom>
            <a:avLst/>
            <a:gdLst>
              <a:gd name="T0" fmla="*/ 0 w 2"/>
              <a:gd name="T1" fmla="*/ 4763 h 3"/>
              <a:gd name="T2" fmla="*/ 0 w 2"/>
              <a:gd name="T3" fmla="*/ 4763 h 3"/>
              <a:gd name="T4" fmla="*/ 3175 w 2"/>
              <a:gd name="T5" fmla="*/ 4763 h 3"/>
              <a:gd name="T6" fmla="*/ 3175 w 2"/>
              <a:gd name="T7" fmla="*/ 4763 h 3"/>
              <a:gd name="T8" fmla="*/ 0 w 2"/>
              <a:gd name="T9" fmla="*/ 0 h 3"/>
              <a:gd name="T10" fmla="*/ 0 w 2"/>
              <a:gd name="T11" fmla="*/ 0 h 3"/>
              <a:gd name="T12" fmla="*/ 0 w 2"/>
              <a:gd name="T13" fmla="*/ 0 h 3"/>
              <a:gd name="T14" fmla="*/ 0 w 2"/>
              <a:gd name="T15" fmla="*/ 4763 h 3"/>
              <a:gd name="T16" fmla="*/ 0 w 2"/>
              <a:gd name="T17" fmla="*/ 4763 h 3"/>
              <a:gd name="T18" fmla="*/ 0 w 2"/>
              <a:gd name="T19" fmla="*/ 4763 h 3"/>
              <a:gd name="T20" fmla="*/ 0 w 2"/>
              <a:gd name="T21" fmla="*/ 4763 h 3"/>
              <a:gd name="T22" fmla="*/ 0 w 2"/>
              <a:gd name="T23" fmla="*/ 0 h 3"/>
              <a:gd name="T24" fmla="*/ 0 w 2"/>
              <a:gd name="T25" fmla="*/ 4763 h 3"/>
              <a:gd name="T26" fmla="*/ 0 w 2"/>
              <a:gd name="T27" fmla="*/ 4763 h 3"/>
              <a:gd name="T28" fmla="*/ 0 w 2"/>
              <a:gd name="T29" fmla="*/ 4763 h 3"/>
              <a:gd name="T30" fmla="*/ 0 w 2"/>
              <a:gd name="T31" fmla="*/ 4763 h 3"/>
              <a:gd name="T32" fmla="*/ 0 w 2"/>
              <a:gd name="T33" fmla="*/ 4763 h 3"/>
              <a:gd name="T34" fmla="*/ 0 w 2"/>
              <a:gd name="T35" fmla="*/ 4763 h 3"/>
              <a:gd name="T36" fmla="*/ 0 w 2"/>
              <a:gd name="T37" fmla="*/ 4763 h 3"/>
              <a:gd name="T38" fmla="*/ 0 w 2"/>
              <a:gd name="T39" fmla="*/ 4763 h 3"/>
              <a:gd name="T40" fmla="*/ 0 w 2"/>
              <a:gd name="T41" fmla="*/ 4763 h 3"/>
              <a:gd name="T42" fmla="*/ 0 w 2"/>
              <a:gd name="T43" fmla="*/ 4763 h 3"/>
              <a:gd name="T44" fmla="*/ 0 w 2"/>
              <a:gd name="T45" fmla="*/ 4763 h 3"/>
              <a:gd name="T46" fmla="*/ 0 w 2"/>
              <a:gd name="T47" fmla="*/ 4763 h 3"/>
              <a:gd name="T48" fmla="*/ 0 w 2"/>
              <a:gd name="T49" fmla="*/ 4763 h 3"/>
              <a:gd name="T50" fmla="*/ 0 w 2"/>
              <a:gd name="T51" fmla="*/ 4763 h 3"/>
              <a:gd name="T52" fmla="*/ 0 w 2"/>
              <a:gd name="T53" fmla="*/ 476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1210"/>
          <p:cNvSpPr>
            <a:spLocks/>
          </p:cNvSpPr>
          <p:nvPr/>
        </p:nvSpPr>
        <p:spPr bwMode="auto">
          <a:xfrm>
            <a:off x="595313" y="557213"/>
            <a:ext cx="3175" cy="3175"/>
          </a:xfrm>
          <a:custGeom>
            <a:avLst/>
            <a:gdLst>
              <a:gd name="T0" fmla="*/ 0 w 2"/>
              <a:gd name="T1" fmla="*/ 3175 h 2"/>
              <a:gd name="T2" fmla="*/ 0 w 2"/>
              <a:gd name="T3" fmla="*/ 3175 h 2"/>
              <a:gd name="T4" fmla="*/ 3175 w 2"/>
              <a:gd name="T5" fmla="*/ 3175 h 2"/>
              <a:gd name="T6" fmla="*/ 3175 w 2"/>
              <a:gd name="T7" fmla="*/ 0 h 2"/>
              <a:gd name="T8" fmla="*/ 3175 w 2"/>
              <a:gd name="T9" fmla="*/ 0 h 2"/>
              <a:gd name="T10" fmla="*/ 0 w 2"/>
              <a:gd name="T11" fmla="*/ 0 h 2"/>
              <a:gd name="T12" fmla="*/ 0 w 2"/>
              <a:gd name="T13" fmla="*/ 0 h 2"/>
              <a:gd name="T14" fmla="*/ 0 w 2"/>
              <a:gd name="T15" fmla="*/ 0 h 2"/>
              <a:gd name="T16" fmla="*/ 0 w 2"/>
              <a:gd name="T17" fmla="*/ 3175 h 2"/>
              <a:gd name="T18" fmla="*/ 0 w 2"/>
              <a:gd name="T19" fmla="*/ 3175 h 2"/>
              <a:gd name="T20" fmla="*/ 3175 w 2"/>
              <a:gd name="T21" fmla="*/ 3175 h 2"/>
              <a:gd name="T22" fmla="*/ 3175 w 2"/>
              <a:gd name="T23" fmla="*/ 0 h 2"/>
              <a:gd name="T24" fmla="*/ 3175 w 2"/>
              <a:gd name="T25" fmla="*/ 0 h 2"/>
              <a:gd name="T26" fmla="*/ 0 w 2"/>
              <a:gd name="T27" fmla="*/ 0 h 2"/>
              <a:gd name="T28" fmla="*/ 0 w 2"/>
              <a:gd name="T29" fmla="*/ 0 h 2"/>
              <a:gd name="T30" fmla="*/ 0 w 2"/>
              <a:gd name="T31" fmla="*/ 0 h 2"/>
              <a:gd name="T32" fmla="*/ 0 w 2"/>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214"/>
          <p:cNvSpPr>
            <a:spLocks/>
          </p:cNvSpPr>
          <p:nvPr/>
        </p:nvSpPr>
        <p:spPr bwMode="auto">
          <a:xfrm>
            <a:off x="595313" y="557213"/>
            <a:ext cx="3175" cy="3175"/>
          </a:xfrm>
          <a:custGeom>
            <a:avLst/>
            <a:gdLst>
              <a:gd name="T0" fmla="*/ 0 w 2"/>
              <a:gd name="T1" fmla="*/ 3175 h 2"/>
              <a:gd name="T2" fmla="*/ 3175 w 2"/>
              <a:gd name="T3" fmla="*/ 3175 h 2"/>
              <a:gd name="T4" fmla="*/ 0 w 2"/>
              <a:gd name="T5" fmla="*/ 0 h 2"/>
              <a:gd name="T6" fmla="*/ 0 w 2"/>
              <a:gd name="T7" fmla="*/ 3175 h 2"/>
              <a:gd name="T8" fmla="*/ 0 w 2"/>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29"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1221"/>
          <p:cNvSpPr>
            <a:spLocks/>
          </p:cNvSpPr>
          <p:nvPr/>
        </p:nvSpPr>
        <p:spPr bwMode="auto">
          <a:xfrm>
            <a:off x="731838" y="541338"/>
            <a:ext cx="3175" cy="3175"/>
          </a:xfrm>
          <a:custGeom>
            <a:avLst/>
            <a:gdLst>
              <a:gd name="T0" fmla="*/ 3175 w 2"/>
              <a:gd name="T1" fmla="*/ 0 h 2"/>
              <a:gd name="T2" fmla="*/ 3175 w 2"/>
              <a:gd name="T3" fmla="*/ 0 h 2"/>
              <a:gd name="T4" fmla="*/ 3175 w 2"/>
              <a:gd name="T5" fmla="*/ 0 h 2"/>
              <a:gd name="T6" fmla="*/ 0 w 2"/>
              <a:gd name="T7" fmla="*/ 0 h 2"/>
              <a:gd name="T8" fmla="*/ 0 w 2"/>
              <a:gd name="T9" fmla="*/ 0 h 2"/>
              <a:gd name="T10" fmla="*/ 0 w 2"/>
              <a:gd name="T11" fmla="*/ 3175 h 2"/>
              <a:gd name="T12" fmla="*/ 3175 w 2"/>
              <a:gd name="T13" fmla="*/ 0 h 2"/>
              <a:gd name="T14" fmla="*/ 3175 w 2"/>
              <a:gd name="T15" fmla="*/ 0 h 2"/>
              <a:gd name="T16" fmla="*/ 3175 w 2"/>
              <a:gd name="T17" fmla="*/ 0 h 2"/>
              <a:gd name="T18" fmla="*/ 0 w 2"/>
              <a:gd name="T19" fmla="*/ 0 h 2"/>
              <a:gd name="T20" fmla="*/ 0 w 2"/>
              <a:gd name="T21" fmla="*/ 0 h 2"/>
              <a:gd name="T22" fmla="*/ 0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34"/>
          <p:cNvSpPr>
            <a:spLocks/>
          </p:cNvSpPr>
          <p:nvPr/>
        </p:nvSpPr>
        <p:spPr bwMode="auto">
          <a:xfrm>
            <a:off x="722313" y="550863"/>
            <a:ext cx="3175" cy="1587"/>
          </a:xfrm>
          <a:custGeom>
            <a:avLst/>
            <a:gdLst>
              <a:gd name="T0" fmla="*/ 0 w 2"/>
              <a:gd name="T1" fmla="*/ 0 h 1587"/>
              <a:gd name="T2" fmla="*/ 0 w 2"/>
              <a:gd name="T3" fmla="*/ 0 h 1587"/>
              <a:gd name="T4" fmla="*/ 3175 w 2"/>
              <a:gd name="T5" fmla="*/ 0 h 1587"/>
              <a:gd name="T6" fmla="*/ 3175 w 2"/>
              <a:gd name="T7" fmla="*/ 0 h 1587"/>
              <a:gd name="T8" fmla="*/ 3175 w 2"/>
              <a:gd name="T9" fmla="*/ 0 h 1587"/>
              <a:gd name="T10" fmla="*/ 3175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3175 w 2"/>
              <a:gd name="T25" fmla="*/ 0 h 1587"/>
              <a:gd name="T26" fmla="*/ 3175 w 2"/>
              <a:gd name="T27" fmla="*/ 0 h 1587"/>
              <a:gd name="T28" fmla="*/ 3175 w 2"/>
              <a:gd name="T29" fmla="*/ 0 h 1587"/>
              <a:gd name="T30" fmla="*/ 0 w 2"/>
              <a:gd name="T31" fmla="*/ 0 h 1587"/>
              <a:gd name="T32" fmla="*/ 0 w 2"/>
              <a:gd name="T33" fmla="*/ 0 h 1587"/>
              <a:gd name="T34" fmla="*/ 3175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1240"/>
          <p:cNvSpPr>
            <a:spLocks/>
          </p:cNvSpPr>
          <p:nvPr/>
        </p:nvSpPr>
        <p:spPr bwMode="auto">
          <a:xfrm>
            <a:off x="728663" y="541338"/>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243"/>
          <p:cNvSpPr>
            <a:spLocks/>
          </p:cNvSpPr>
          <p:nvPr/>
        </p:nvSpPr>
        <p:spPr bwMode="auto">
          <a:xfrm>
            <a:off x="728663" y="538163"/>
            <a:ext cx="3175" cy="3175"/>
          </a:xfrm>
          <a:custGeom>
            <a:avLst/>
            <a:gdLst>
              <a:gd name="T0" fmla="*/ 3175 w 2"/>
              <a:gd name="T1" fmla="*/ 3175 h 2"/>
              <a:gd name="T2" fmla="*/ 3175 w 2"/>
              <a:gd name="T3" fmla="*/ 3175 h 2"/>
              <a:gd name="T4" fmla="*/ 3175 w 2"/>
              <a:gd name="T5" fmla="*/ 3175 h 2"/>
              <a:gd name="T6" fmla="*/ 3175 w 2"/>
              <a:gd name="T7" fmla="*/ 3175 h 2"/>
              <a:gd name="T8" fmla="*/ 0 w 2"/>
              <a:gd name="T9" fmla="*/ 3175 h 2"/>
              <a:gd name="T10" fmla="*/ 0 w 2"/>
              <a:gd name="T11" fmla="*/ 3175 h 2"/>
              <a:gd name="T12" fmla="*/ 3175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3175 w 2"/>
              <a:gd name="T39" fmla="*/ 3175 h 2"/>
              <a:gd name="T40" fmla="*/ 3175 w 2"/>
              <a:gd name="T41" fmla="*/ 3175 h 2"/>
              <a:gd name="T42" fmla="*/ 3175 w 2"/>
              <a:gd name="T43" fmla="*/ 3175 h 2"/>
              <a:gd name="T44" fmla="*/ 3175 w 2"/>
              <a:gd name="T45" fmla="*/ 3175 h 2"/>
              <a:gd name="T46" fmla="*/ 3175 w 2"/>
              <a:gd name="T47" fmla="*/ 3175 h 2"/>
              <a:gd name="T48" fmla="*/ 0 w 2"/>
              <a:gd name="T49" fmla="*/ 0 h 2"/>
              <a:gd name="T50" fmla="*/ 0 w 2"/>
              <a:gd name="T51" fmla="*/ 3175 h 2"/>
              <a:gd name="T52" fmla="*/ 0 w 2"/>
              <a:gd name="T53" fmla="*/ 3175 h 2"/>
              <a:gd name="T54" fmla="*/ 0 w 2"/>
              <a:gd name="T55" fmla="*/ 3175 h 2"/>
              <a:gd name="T56" fmla="*/ 3175 w 2"/>
              <a:gd name="T57" fmla="*/ 3175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46"/>
          <p:cNvSpPr>
            <a:spLocks/>
          </p:cNvSpPr>
          <p:nvPr/>
        </p:nvSpPr>
        <p:spPr bwMode="auto">
          <a:xfrm>
            <a:off x="725488" y="547688"/>
            <a:ext cx="3175" cy="3175"/>
          </a:xfrm>
          <a:custGeom>
            <a:avLst/>
            <a:gdLst>
              <a:gd name="T0" fmla="*/ 0 w 2"/>
              <a:gd name="T1" fmla="*/ 3175 h 2"/>
              <a:gd name="T2" fmla="*/ 0 w 2"/>
              <a:gd name="T3" fmla="*/ 3175 h 2"/>
              <a:gd name="T4" fmla="*/ 3175 w 2"/>
              <a:gd name="T5" fmla="*/ 0 h 2"/>
              <a:gd name="T6" fmla="*/ 3175 w 2"/>
              <a:gd name="T7" fmla="*/ 0 h 2"/>
              <a:gd name="T8" fmla="*/ 0 w 2"/>
              <a:gd name="T9" fmla="*/ 0 h 2"/>
              <a:gd name="T10" fmla="*/ 0 w 2"/>
              <a:gd name="T11" fmla="*/ 0 h 2"/>
              <a:gd name="T12" fmla="*/ 0 w 2"/>
              <a:gd name="T13" fmla="*/ 3175 h 2"/>
              <a:gd name="T14" fmla="*/ 0 w 2"/>
              <a:gd name="T15" fmla="*/ 3175 h 2"/>
              <a:gd name="T16" fmla="*/ 3175 w 2"/>
              <a:gd name="T17" fmla="*/ 0 h 2"/>
              <a:gd name="T18" fmla="*/ 3175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3175 h 2"/>
              <a:gd name="T48" fmla="*/ 0 w 2"/>
              <a:gd name="T49" fmla="*/ 3175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50"/>
          <p:cNvSpPr>
            <a:spLocks/>
          </p:cNvSpPr>
          <p:nvPr/>
        </p:nvSpPr>
        <p:spPr bwMode="auto">
          <a:xfrm>
            <a:off x="731838" y="53022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52"/>
          <p:cNvSpPr>
            <a:spLocks/>
          </p:cNvSpPr>
          <p:nvPr/>
        </p:nvSpPr>
        <p:spPr bwMode="auto">
          <a:xfrm>
            <a:off x="731838" y="527050"/>
            <a:ext cx="3175" cy="7938"/>
          </a:xfrm>
          <a:custGeom>
            <a:avLst/>
            <a:gdLst>
              <a:gd name="T0" fmla="*/ 3175 w 2"/>
              <a:gd name="T1" fmla="*/ 3175 h 5"/>
              <a:gd name="T2" fmla="*/ 3175 w 2"/>
              <a:gd name="T3" fmla="*/ 3175 h 5"/>
              <a:gd name="T4" fmla="*/ 0 w 2"/>
              <a:gd name="T5" fmla="*/ 0 h 5"/>
              <a:gd name="T6" fmla="*/ 0 w 2"/>
              <a:gd name="T7" fmla="*/ 3175 h 5"/>
              <a:gd name="T8" fmla="*/ 0 w 2"/>
              <a:gd name="T9" fmla="*/ 3175 h 5"/>
              <a:gd name="T10" fmla="*/ 3175 w 2"/>
              <a:gd name="T11" fmla="*/ 7938 h 5"/>
              <a:gd name="T12" fmla="*/ 3175 w 2"/>
              <a:gd name="T13" fmla="*/ 3175 h 5"/>
              <a:gd name="T14" fmla="*/ 3175 w 2"/>
              <a:gd name="T15" fmla="*/ 3175 h 5"/>
              <a:gd name="T16" fmla="*/ 0 w 2"/>
              <a:gd name="T17" fmla="*/ 0 h 5"/>
              <a:gd name="T18" fmla="*/ 0 w 2"/>
              <a:gd name="T19" fmla="*/ 3175 h 5"/>
              <a:gd name="T20" fmla="*/ 0 w 2"/>
              <a:gd name="T21" fmla="*/ 3175 h 5"/>
              <a:gd name="T22" fmla="*/ 3175 w 2"/>
              <a:gd name="T23" fmla="*/ 7938 h 5"/>
              <a:gd name="T24" fmla="*/ 3175 w 2"/>
              <a:gd name="T25" fmla="*/ 317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55"/>
          <p:cNvSpPr>
            <a:spLocks/>
          </p:cNvSpPr>
          <p:nvPr/>
        </p:nvSpPr>
        <p:spPr bwMode="auto">
          <a:xfrm>
            <a:off x="712788" y="550863"/>
            <a:ext cx="3175" cy="1587"/>
          </a:xfrm>
          <a:custGeom>
            <a:avLst/>
            <a:gdLst>
              <a:gd name="T0" fmla="*/ 0 w 2"/>
              <a:gd name="T1" fmla="*/ 0 h 1587"/>
              <a:gd name="T2" fmla="*/ 3175 w 2"/>
              <a:gd name="T3" fmla="*/ 0 h 1587"/>
              <a:gd name="T4" fmla="*/ 3175 w 2"/>
              <a:gd name="T5" fmla="*/ 0 h 1587"/>
              <a:gd name="T6" fmla="*/ 3175 w 2"/>
              <a:gd name="T7" fmla="*/ 0 h 1587"/>
              <a:gd name="T8" fmla="*/ 3175 w 2"/>
              <a:gd name="T9" fmla="*/ 0 h 1587"/>
              <a:gd name="T10" fmla="*/ 0 w 2"/>
              <a:gd name="T11" fmla="*/ 0 h 1587"/>
              <a:gd name="T12" fmla="*/ 0 w 2"/>
              <a:gd name="T13" fmla="*/ 0 h 1587"/>
              <a:gd name="T14" fmla="*/ 0 w 2"/>
              <a:gd name="T15" fmla="*/ 0 h 1587"/>
              <a:gd name="T16" fmla="*/ 0 w 2"/>
              <a:gd name="T17" fmla="*/ 0 h 1587"/>
              <a:gd name="T18" fmla="*/ 3175 w 2"/>
              <a:gd name="T19" fmla="*/ 0 h 1587"/>
              <a:gd name="T20" fmla="*/ 3175 w 2"/>
              <a:gd name="T21" fmla="*/ 0 h 1587"/>
              <a:gd name="T22" fmla="*/ 3175 w 2"/>
              <a:gd name="T23" fmla="*/ 0 h 1587"/>
              <a:gd name="T24" fmla="*/ 3175 w 2"/>
              <a:gd name="T25" fmla="*/ 0 h 1587"/>
              <a:gd name="T26" fmla="*/ 3175 w 2"/>
              <a:gd name="T27" fmla="*/ 0 h 1587"/>
              <a:gd name="T28" fmla="*/ 3175 w 2"/>
              <a:gd name="T29" fmla="*/ 0 h 1587"/>
              <a:gd name="T30" fmla="*/ 3175 w 2"/>
              <a:gd name="T31" fmla="*/ 0 h 1587"/>
              <a:gd name="T32" fmla="*/ 3175 w 2"/>
              <a:gd name="T33" fmla="*/ 0 h 1587"/>
              <a:gd name="T34" fmla="*/ 3175 w 2"/>
              <a:gd name="T35" fmla="*/ 0 h 1587"/>
              <a:gd name="T36" fmla="*/ 3175 w 2"/>
              <a:gd name="T37" fmla="*/ 0 h 1587"/>
              <a:gd name="T38" fmla="*/ 3175 w 2"/>
              <a:gd name="T39" fmla="*/ 0 h 1587"/>
              <a:gd name="T40" fmla="*/ 3175 w 2"/>
              <a:gd name="T41" fmla="*/ 0 h 1587"/>
              <a:gd name="T42" fmla="*/ 3175 w 2"/>
              <a:gd name="T43" fmla="*/ 0 h 1587"/>
              <a:gd name="T44" fmla="*/ 3175 w 2"/>
              <a:gd name="T45" fmla="*/ 0 h 1587"/>
              <a:gd name="T46" fmla="*/ 3175 w 2"/>
              <a:gd name="T47" fmla="*/ 0 h 1587"/>
              <a:gd name="T48" fmla="*/ 3175 w 2"/>
              <a:gd name="T49" fmla="*/ 0 h 1587"/>
              <a:gd name="T50" fmla="*/ 3175 w 2"/>
              <a:gd name="T51" fmla="*/ 0 h 1587"/>
              <a:gd name="T52" fmla="*/ 3175 w 2"/>
              <a:gd name="T53" fmla="*/ 0 h 1587"/>
              <a:gd name="T54" fmla="*/ 3175 w 2"/>
              <a:gd name="T55" fmla="*/ 0 h 1587"/>
              <a:gd name="T56" fmla="*/ 3175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2"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1269"/>
          <p:cNvSpPr>
            <a:spLocks/>
          </p:cNvSpPr>
          <p:nvPr/>
        </p:nvSpPr>
        <p:spPr bwMode="auto">
          <a:xfrm>
            <a:off x="728663" y="530225"/>
            <a:ext cx="3175" cy="4763"/>
          </a:xfrm>
          <a:custGeom>
            <a:avLst/>
            <a:gdLst>
              <a:gd name="T0" fmla="*/ 0 w 2"/>
              <a:gd name="T1" fmla="*/ 4763 h 3"/>
              <a:gd name="T2" fmla="*/ 3175 w 2"/>
              <a:gd name="T3" fmla="*/ 0 h 3"/>
              <a:gd name="T4" fmla="*/ 3175 w 2"/>
              <a:gd name="T5" fmla="*/ 0 h 3"/>
              <a:gd name="T6" fmla="*/ 3175 w 2"/>
              <a:gd name="T7" fmla="*/ 0 h 3"/>
              <a:gd name="T8" fmla="*/ 3175 w 2"/>
              <a:gd name="T9" fmla="*/ 0 h 3"/>
              <a:gd name="T10" fmla="*/ 0 w 2"/>
              <a:gd name="T11" fmla="*/ 0 h 3"/>
              <a:gd name="T12" fmla="*/ 0 w 2"/>
              <a:gd name="T13" fmla="*/ 0 h 3"/>
              <a:gd name="T14" fmla="*/ 0 w 2"/>
              <a:gd name="T15" fmla="*/ 4763 h 3"/>
              <a:gd name="T16" fmla="*/ 0 w 2"/>
              <a:gd name="T17" fmla="*/ 4763 h 3"/>
              <a:gd name="T18" fmla="*/ 3175 w 2"/>
              <a:gd name="T19" fmla="*/ 0 h 3"/>
              <a:gd name="T20" fmla="*/ 3175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4763 h 3"/>
              <a:gd name="T40" fmla="*/ 0 w 2"/>
              <a:gd name="T41" fmla="*/ 476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8"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9"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Freeform 1277"/>
          <p:cNvSpPr>
            <a:spLocks/>
          </p:cNvSpPr>
          <p:nvPr/>
        </p:nvSpPr>
        <p:spPr bwMode="auto">
          <a:xfrm>
            <a:off x="728663" y="523875"/>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Freeform 1287"/>
          <p:cNvSpPr>
            <a:spLocks/>
          </p:cNvSpPr>
          <p:nvPr/>
        </p:nvSpPr>
        <p:spPr bwMode="auto">
          <a:xfrm>
            <a:off x="719138" y="514350"/>
            <a:ext cx="3175" cy="3175"/>
          </a:xfrm>
          <a:custGeom>
            <a:avLst/>
            <a:gdLst>
              <a:gd name="T0" fmla="*/ 0 w 2"/>
              <a:gd name="T1" fmla="*/ 0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3175 h 2"/>
              <a:gd name="T18" fmla="*/ 0 w 2"/>
              <a:gd name="T19" fmla="*/ 3175 h 2"/>
              <a:gd name="T20" fmla="*/ 0 w 2"/>
              <a:gd name="T21" fmla="*/ 3175 h 2"/>
              <a:gd name="T22" fmla="*/ 0 w 2"/>
              <a:gd name="T23" fmla="*/ 3175 h 2"/>
              <a:gd name="T24" fmla="*/ 3175 w 2"/>
              <a:gd name="T25" fmla="*/ 3175 h 2"/>
              <a:gd name="T26" fmla="*/ 3175 w 2"/>
              <a:gd name="T27" fmla="*/ 3175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1290"/>
          <p:cNvSpPr>
            <a:spLocks/>
          </p:cNvSpPr>
          <p:nvPr/>
        </p:nvSpPr>
        <p:spPr bwMode="auto">
          <a:xfrm>
            <a:off x="719138" y="517525"/>
            <a:ext cx="3175" cy="3175"/>
          </a:xfrm>
          <a:custGeom>
            <a:avLst/>
            <a:gdLst>
              <a:gd name="T0" fmla="*/ 0 w 2"/>
              <a:gd name="T1" fmla="*/ 3175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0 h 2"/>
              <a:gd name="T18" fmla="*/ 0 w 2"/>
              <a:gd name="T19" fmla="*/ 0 h 2"/>
              <a:gd name="T20" fmla="*/ 3175 w 2"/>
              <a:gd name="T21" fmla="*/ 0 h 2"/>
              <a:gd name="T22" fmla="*/ 0 w 2"/>
              <a:gd name="T23" fmla="*/ 0 h 2"/>
              <a:gd name="T24" fmla="*/ 0 w 2"/>
              <a:gd name="T25" fmla="*/ 0 h 2"/>
              <a:gd name="T26" fmla="*/ 0 w 2"/>
              <a:gd name="T27" fmla="*/ 0 h 2"/>
              <a:gd name="T28" fmla="*/ 0 w 2"/>
              <a:gd name="T29" fmla="*/ 0 h 2"/>
              <a:gd name="T30" fmla="*/ 0 w 2"/>
              <a:gd name="T31" fmla="*/ 3175 h 2"/>
              <a:gd name="T32" fmla="*/ 0 w 2"/>
              <a:gd name="T33" fmla="*/ 3175 h 2"/>
              <a:gd name="T34" fmla="*/ 0 w 2"/>
              <a:gd name="T35" fmla="*/ 3175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3175 h 2"/>
              <a:gd name="T50" fmla="*/ 3175 w 2"/>
              <a:gd name="T51" fmla="*/ 3175 h 2"/>
              <a:gd name="T52" fmla="*/ 3175 w 2"/>
              <a:gd name="T53" fmla="*/ 0 h 2"/>
              <a:gd name="T54" fmla="*/ 3175 w 2"/>
              <a:gd name="T55" fmla="*/ 0 h 2"/>
              <a:gd name="T56" fmla="*/ 0 w 2"/>
              <a:gd name="T57" fmla="*/ 0 h 2"/>
              <a:gd name="T58" fmla="*/ 0 w 2"/>
              <a:gd name="T59" fmla="*/ 0 h 2"/>
              <a:gd name="T60" fmla="*/ 0 w 2"/>
              <a:gd name="T61" fmla="*/ 3175 h 2"/>
              <a:gd name="T62" fmla="*/ 0 w 2"/>
              <a:gd name="T63" fmla="*/ 3175 h 2"/>
              <a:gd name="T64" fmla="*/ 3175 w 2"/>
              <a:gd name="T65" fmla="*/ 3175 h 2"/>
              <a:gd name="T66" fmla="*/ 3175 w 2"/>
              <a:gd name="T67" fmla="*/ 3175 h 2"/>
              <a:gd name="T68" fmla="*/ 0 w 2"/>
              <a:gd name="T69" fmla="*/ 3175 h 2"/>
              <a:gd name="T70" fmla="*/ 0 w 2"/>
              <a:gd name="T71" fmla="*/ 3175 h 2"/>
              <a:gd name="T72" fmla="*/ 0 w 2"/>
              <a:gd name="T73" fmla="*/ 3175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5"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6"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7"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61"/>
          <p:cNvSpPr>
            <a:spLocks noChangeArrowheads="1"/>
          </p:cNvSpPr>
          <p:nvPr/>
        </p:nvSpPr>
        <p:spPr bwMode="auto">
          <a:xfrm>
            <a:off x="0" y="2828925"/>
            <a:ext cx="9144000" cy="176213"/>
          </a:xfrm>
          <a:prstGeom prst="rect">
            <a:avLst/>
          </a:prstGeom>
          <a:solidFill>
            <a:schemeClr val="bg1"/>
          </a:solidFill>
          <a:ln>
            <a:noFill/>
          </a:ln>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pic>
        <p:nvPicPr>
          <p:cNvPr id="63"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70663" y="6200775"/>
            <a:ext cx="2306637"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TextBox 64"/>
          <p:cNvSpPr txBox="1">
            <a:spLocks noChangeArrowheads="1"/>
          </p:cNvSpPr>
          <p:nvPr userDrawn="1"/>
        </p:nvSpPr>
        <p:spPr bwMode="auto">
          <a:xfrm>
            <a:off x="2886075" y="73025"/>
            <a:ext cx="60325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600" b="1">
                <a:solidFill>
                  <a:schemeClr val="tx1"/>
                </a:solidFill>
                <a:latin typeface="Trebuchet MS" panose="020B0603020202020204" pitchFamily="34" charset="0"/>
                <a:ea typeface="MS PGothic" panose="020B0600070205080204" pitchFamily="34" charset="-128"/>
              </a:defRPr>
            </a:lvl1pPr>
            <a:lvl2pPr marL="742950" indent="-285750">
              <a:defRPr sz="1600" b="1">
                <a:solidFill>
                  <a:schemeClr val="tx1"/>
                </a:solidFill>
                <a:latin typeface="Trebuchet MS" panose="020B0603020202020204" pitchFamily="34" charset="0"/>
                <a:ea typeface="MS PGothic" panose="020B0600070205080204" pitchFamily="34" charset="-128"/>
              </a:defRPr>
            </a:lvl2pPr>
            <a:lvl3pPr marL="1143000" indent="-228600">
              <a:defRPr sz="1600" b="1">
                <a:solidFill>
                  <a:schemeClr val="tx1"/>
                </a:solidFill>
                <a:latin typeface="Trebuchet MS" panose="020B0603020202020204" pitchFamily="34" charset="0"/>
                <a:ea typeface="MS PGothic" panose="020B0600070205080204" pitchFamily="34" charset="-128"/>
              </a:defRPr>
            </a:lvl3pPr>
            <a:lvl4pPr marL="1600200" indent="-228600">
              <a:defRPr sz="1600" b="1">
                <a:solidFill>
                  <a:schemeClr val="tx1"/>
                </a:solidFill>
                <a:latin typeface="Trebuchet MS" panose="020B0603020202020204" pitchFamily="34" charset="0"/>
                <a:ea typeface="MS PGothic" panose="020B0600070205080204" pitchFamily="34" charset="-128"/>
              </a:defRPr>
            </a:lvl4pPr>
            <a:lvl5pPr marL="2057400" indent="-22860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algn="r" eaLnBrk="1" hangingPunct="1">
              <a:spcBef>
                <a:spcPts val="400"/>
              </a:spcBef>
            </a:pPr>
            <a:r>
              <a:rPr lang="en-US" altLang="en-US" sz="1400">
                <a:solidFill>
                  <a:srgbClr val="F2F2F2"/>
                </a:solidFill>
                <a:latin typeface="Arial Bold" panose="020B0704020202020204" pitchFamily="34" charset="0"/>
              </a:rPr>
              <a:t>Preliminary – for Internal Discussion</a:t>
            </a:r>
          </a:p>
        </p:txBody>
      </p:sp>
      <p:sp>
        <p:nvSpPr>
          <p:cNvPr id="330" name="Title 329"/>
          <p:cNvSpPr>
            <a:spLocks noGrp="1"/>
          </p:cNvSpPr>
          <p:nvPr>
            <p:ph type="title"/>
          </p:nvPr>
        </p:nvSpPr>
        <p:spPr>
          <a:xfrm>
            <a:off x="865910" y="1306550"/>
            <a:ext cx="7296726" cy="1353523"/>
          </a:xfrm>
          <a:prstGeom prst="rect">
            <a:avLst/>
          </a:prstGeom>
        </p:spPr>
        <p:txBody>
          <a:bodyPr lIns="0" tIns="0" rIns="0" bIns="0" anchor="b">
            <a:normAutofit/>
          </a:bodyPr>
          <a:lstStyle>
            <a:lvl1pPr>
              <a:defRPr sz="3800" b="1" cap="none"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851104" y="3074088"/>
            <a:ext cx="7328771" cy="2397495"/>
          </a:xfrm>
          <a:prstGeom prst="rect">
            <a:avLst/>
          </a:prstGeo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Tree>
    <p:extLst>
      <p:ext uri="{BB962C8B-B14F-4D97-AF65-F5344CB8AC3E}">
        <p14:creationId xmlns:p14="http://schemas.microsoft.com/office/powerpoint/2010/main" val="40806246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Section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4479925"/>
            <a:ext cx="9144000" cy="2378075"/>
          </a:xfrm>
          <a:prstGeom prst="rect">
            <a:avLst/>
          </a:prstGeom>
          <a:solidFill>
            <a:schemeClr val="tx1"/>
          </a:solidFill>
          <a:ln>
            <a:noFill/>
          </a:ln>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70663" y="6200775"/>
            <a:ext cx="2306637"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 Placeholder 331"/>
          <p:cNvSpPr>
            <a:spLocks noGrp="1"/>
          </p:cNvSpPr>
          <p:nvPr>
            <p:ph type="body" sz="quarter" idx="13"/>
          </p:nvPr>
        </p:nvSpPr>
        <p:spPr>
          <a:xfrm>
            <a:off x="431800" y="4681311"/>
            <a:ext cx="8285018" cy="1550156"/>
          </a:xfrm>
          <a:prstGeom prst="rect">
            <a:avLst/>
          </a:prstGeom>
        </p:spPr>
        <p:txBody>
          <a:bodyPr lIns="0" tIns="0" rIns="0" bIns="0"/>
          <a:lstStyle>
            <a:lvl1pPr>
              <a:lnSpc>
                <a:spcPct val="100000"/>
              </a:lnSpc>
              <a:defRPr sz="2600" b="0" i="0" cap="none"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3" name="Picture Placeholder 2"/>
          <p:cNvSpPr>
            <a:spLocks noGrp="1"/>
          </p:cNvSpPr>
          <p:nvPr>
            <p:ph type="pic" sz="quarter" idx="14"/>
          </p:nvPr>
        </p:nvSpPr>
        <p:spPr>
          <a:xfrm>
            <a:off x="0" y="0"/>
            <a:ext cx="9144000" cy="4479925"/>
          </a:xfrm>
          <a:prstGeom prst="rect">
            <a:avLst/>
          </a:prstGeom>
        </p:spPr>
        <p:txBody>
          <a:bodyPr/>
          <a:lstStyle>
            <a:lvl1pPr>
              <a:defRPr baseline="0"/>
            </a:lvl1pPr>
          </a:lstStyle>
          <a:p>
            <a:pPr lvl="0"/>
            <a:r>
              <a:rPr lang="en-US" noProof="0"/>
              <a:t>Drag picture to placeholder or click icon to add</a:t>
            </a:r>
            <a:endParaRPr lang="en-US" noProof="0" dirty="0"/>
          </a:p>
        </p:txBody>
      </p:sp>
    </p:spTree>
    <p:extLst>
      <p:ext uri="{BB962C8B-B14F-4D97-AF65-F5344CB8AC3E}">
        <p14:creationId xmlns:p14="http://schemas.microsoft.com/office/powerpoint/2010/main" val="16901588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ark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4487863"/>
            <a:ext cx="9144000" cy="2370137"/>
          </a:xfrm>
          <a:prstGeom prst="rect">
            <a:avLst/>
          </a:prstGeom>
          <a:solidFill>
            <a:schemeClr val="bg1"/>
          </a:solidFill>
          <a:ln>
            <a:noFill/>
          </a:ln>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 name="Rectangle 5"/>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7"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0"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1" name="Freeform 1098"/>
          <p:cNvSpPr>
            <a:spLocks/>
          </p:cNvSpPr>
          <p:nvPr/>
        </p:nvSpPr>
        <p:spPr bwMode="auto">
          <a:xfrm>
            <a:off x="487363" y="617538"/>
            <a:ext cx="3175" cy="1587"/>
          </a:xfrm>
          <a:custGeom>
            <a:avLst/>
            <a:gdLst>
              <a:gd name="T0" fmla="*/ 0 w 2"/>
              <a:gd name="T1" fmla="*/ 0 h 1587"/>
              <a:gd name="T2" fmla="*/ 5040313 w 2"/>
              <a:gd name="T3" fmla="*/ 0 h 1587"/>
              <a:gd name="T4" fmla="*/ 5040313 w 2"/>
              <a:gd name="T5" fmla="*/ 0 h 1587"/>
              <a:gd name="T6" fmla="*/ 5040313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5040313 w 2"/>
              <a:gd name="T35" fmla="*/ 0 h 1587"/>
              <a:gd name="T36" fmla="*/ 5040313 w 2"/>
              <a:gd name="T37" fmla="*/ 0 h 1587"/>
              <a:gd name="T38" fmla="*/ 5040313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15"/>
          <p:cNvSpPr>
            <a:spLocks/>
          </p:cNvSpPr>
          <p:nvPr/>
        </p:nvSpPr>
        <p:spPr bwMode="auto">
          <a:xfrm>
            <a:off x="458788" y="473075"/>
            <a:ext cx="3175" cy="3175"/>
          </a:xfrm>
          <a:custGeom>
            <a:avLst/>
            <a:gdLst>
              <a:gd name="T0" fmla="*/ 0 w 2"/>
              <a:gd name="T1" fmla="*/ 5040313 h 2"/>
              <a:gd name="T2" fmla="*/ 0 w 2"/>
              <a:gd name="T3" fmla="*/ 5040313 h 2"/>
              <a:gd name="T4" fmla="*/ 0 w 2"/>
              <a:gd name="T5" fmla="*/ 5040313 h 2"/>
              <a:gd name="T6" fmla="*/ 0 w 2"/>
              <a:gd name="T7" fmla="*/ 5040313 h 2"/>
              <a:gd name="T8" fmla="*/ 0 w 2"/>
              <a:gd name="T9" fmla="*/ 5040313 h 2"/>
              <a:gd name="T10" fmla="*/ 0 w 2"/>
              <a:gd name="T11" fmla="*/ 5040313 h 2"/>
              <a:gd name="T12" fmla="*/ 5040313 w 2"/>
              <a:gd name="T13" fmla="*/ 5040313 h 2"/>
              <a:gd name="T14" fmla="*/ 5040313 w 2"/>
              <a:gd name="T15" fmla="*/ 5040313 h 2"/>
              <a:gd name="T16" fmla="*/ 5040313 w 2"/>
              <a:gd name="T17" fmla="*/ 0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5040313 w 2"/>
              <a:gd name="T29" fmla="*/ 5040313 h 2"/>
              <a:gd name="T30" fmla="*/ 5040313 w 2"/>
              <a:gd name="T31" fmla="*/ 5040313 h 2"/>
              <a:gd name="T32" fmla="*/ 5040313 w 2"/>
              <a:gd name="T33" fmla="*/ 5040313 h 2"/>
              <a:gd name="T34" fmla="*/ 5040313 w 2"/>
              <a:gd name="T35" fmla="*/ 5040313 h 2"/>
              <a:gd name="T36" fmla="*/ 5040313 w 2"/>
              <a:gd name="T37" fmla="*/ 5040313 h 2"/>
              <a:gd name="T38" fmla="*/ 5040313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5040313 w 2"/>
              <a:gd name="T55" fmla="*/ 5040313 h 2"/>
              <a:gd name="T56" fmla="*/ 0 w 2"/>
              <a:gd name="T57" fmla="*/ 5040313 h 2"/>
              <a:gd name="T58" fmla="*/ 5040313 w 2"/>
              <a:gd name="T59" fmla="*/ 5040313 h 2"/>
              <a:gd name="T60" fmla="*/ 5040313 w 2"/>
              <a:gd name="T61" fmla="*/ 5040313 h 2"/>
              <a:gd name="T62" fmla="*/ 5040313 w 2"/>
              <a:gd name="T63" fmla="*/ 5040313 h 2"/>
              <a:gd name="T64" fmla="*/ 0 w 2"/>
              <a:gd name="T65" fmla="*/ 5040313 h 2"/>
              <a:gd name="T66" fmla="*/ 0 w 2"/>
              <a:gd name="T67" fmla="*/ 5040313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20"/>
          <p:cNvSpPr>
            <a:spLocks/>
          </p:cNvSpPr>
          <p:nvPr/>
        </p:nvSpPr>
        <p:spPr bwMode="auto">
          <a:xfrm>
            <a:off x="458788" y="463550"/>
            <a:ext cx="3175" cy="3175"/>
          </a:xfrm>
          <a:custGeom>
            <a:avLst/>
            <a:gdLst>
              <a:gd name="T0" fmla="*/ 0 w 2"/>
              <a:gd name="T1" fmla="*/ 0 h 2"/>
              <a:gd name="T2" fmla="*/ 0 w 2"/>
              <a:gd name="T3" fmla="*/ 5040313 h 2"/>
              <a:gd name="T4" fmla="*/ 0 w 2"/>
              <a:gd name="T5" fmla="*/ 5040313 h 2"/>
              <a:gd name="T6" fmla="*/ 0 w 2"/>
              <a:gd name="T7" fmla="*/ 5040313 h 2"/>
              <a:gd name="T8" fmla="*/ 5040313 w 2"/>
              <a:gd name="T9" fmla="*/ 5040313 h 2"/>
              <a:gd name="T10" fmla="*/ 5040313 w 2"/>
              <a:gd name="T11" fmla="*/ 0 h 2"/>
              <a:gd name="T12" fmla="*/ 5040313 w 2"/>
              <a:gd name="T13" fmla="*/ 0 h 2"/>
              <a:gd name="T14" fmla="*/ 5040313 w 2"/>
              <a:gd name="T15" fmla="*/ 0 h 2"/>
              <a:gd name="T16" fmla="*/ 0 w 2"/>
              <a:gd name="T17" fmla="*/ 0 h 2"/>
              <a:gd name="T18" fmla="*/ 0 w 2"/>
              <a:gd name="T19" fmla="*/ 5040313 h 2"/>
              <a:gd name="T20" fmla="*/ 0 w 2"/>
              <a:gd name="T21" fmla="*/ 5040313 h 2"/>
              <a:gd name="T22" fmla="*/ 5040313 w 2"/>
              <a:gd name="T23" fmla="*/ 0 h 2"/>
              <a:gd name="T24" fmla="*/ 5040313 w 2"/>
              <a:gd name="T25" fmla="*/ 0 h 2"/>
              <a:gd name="T26" fmla="*/ 5040313 w 2"/>
              <a:gd name="T27" fmla="*/ 0 h 2"/>
              <a:gd name="T28" fmla="*/ 5040313 w 2"/>
              <a:gd name="T29" fmla="*/ 5040313 h 2"/>
              <a:gd name="T30" fmla="*/ 0 w 2"/>
              <a:gd name="T31" fmla="*/ 5040313 h 2"/>
              <a:gd name="T32" fmla="*/ 0 w 2"/>
              <a:gd name="T33" fmla="*/ 5040313 h 2"/>
              <a:gd name="T34" fmla="*/ 0 w 2"/>
              <a:gd name="T35" fmla="*/ 5040313 h 2"/>
              <a:gd name="T36" fmla="*/ 0 w 2"/>
              <a:gd name="T37" fmla="*/ 5040313 h 2"/>
              <a:gd name="T38" fmla="*/ 0 w 2"/>
              <a:gd name="T39" fmla="*/ 5040313 h 2"/>
              <a:gd name="T40" fmla="*/ 0 w 2"/>
              <a:gd name="T41" fmla="*/ 5040313 h 2"/>
              <a:gd name="T42" fmla="*/ 0 w 2"/>
              <a:gd name="T43" fmla="*/ 5040313 h 2"/>
              <a:gd name="T44" fmla="*/ 0 w 2"/>
              <a:gd name="T45" fmla="*/ 5040313 h 2"/>
              <a:gd name="T46" fmla="*/ 5040313 w 2"/>
              <a:gd name="T47" fmla="*/ 5040313 h 2"/>
              <a:gd name="T48" fmla="*/ 0 w 2"/>
              <a:gd name="T49" fmla="*/ 5040313 h 2"/>
              <a:gd name="T50" fmla="*/ 0 w 2"/>
              <a:gd name="T51" fmla="*/ 5040313 h 2"/>
              <a:gd name="T52" fmla="*/ 5040313 w 2"/>
              <a:gd name="T53" fmla="*/ 5040313 h 2"/>
              <a:gd name="T54" fmla="*/ 5040313 w 2"/>
              <a:gd name="T55" fmla="*/ 5040313 h 2"/>
              <a:gd name="T56" fmla="*/ 5040313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34"/>
          <p:cNvSpPr>
            <a:spLocks/>
          </p:cNvSpPr>
          <p:nvPr/>
        </p:nvSpPr>
        <p:spPr bwMode="auto">
          <a:xfrm>
            <a:off x="703263" y="514350"/>
            <a:ext cx="3175" cy="6350"/>
          </a:xfrm>
          <a:custGeom>
            <a:avLst/>
            <a:gdLst>
              <a:gd name="T0" fmla="*/ 5040313 w 2"/>
              <a:gd name="T1" fmla="*/ 10080625 h 4"/>
              <a:gd name="T2" fmla="*/ 5040313 w 2"/>
              <a:gd name="T3" fmla="*/ 10080625 h 4"/>
              <a:gd name="T4" fmla="*/ 5040313 w 2"/>
              <a:gd name="T5" fmla="*/ 10080625 h 4"/>
              <a:gd name="T6" fmla="*/ 5040313 w 2"/>
              <a:gd name="T7" fmla="*/ 5040313 h 4"/>
              <a:gd name="T8" fmla="*/ 5040313 w 2"/>
              <a:gd name="T9" fmla="*/ 0 h 4"/>
              <a:gd name="T10" fmla="*/ 5040313 w 2"/>
              <a:gd name="T11" fmla="*/ 0 h 4"/>
              <a:gd name="T12" fmla="*/ 5040313 w 2"/>
              <a:gd name="T13" fmla="*/ 0 h 4"/>
              <a:gd name="T14" fmla="*/ 0 w 2"/>
              <a:gd name="T15" fmla="*/ 5040313 h 4"/>
              <a:gd name="T16" fmla="*/ 5040313 w 2"/>
              <a:gd name="T17" fmla="*/ 10080625 h 4"/>
              <a:gd name="T18" fmla="*/ 5040313 w 2"/>
              <a:gd name="T19" fmla="*/ 5040313 h 4"/>
              <a:gd name="T20" fmla="*/ 5040313 w 2"/>
              <a:gd name="T21" fmla="*/ 5040313 h 4"/>
              <a:gd name="T22" fmla="*/ 5040313 w 2"/>
              <a:gd name="T23" fmla="*/ 0 h 4"/>
              <a:gd name="T24" fmla="*/ 5040313 w 2"/>
              <a:gd name="T25" fmla="*/ 5040313 h 4"/>
              <a:gd name="T26" fmla="*/ 5040313 w 2"/>
              <a:gd name="T27" fmla="*/ 5040313 h 4"/>
              <a:gd name="T28" fmla="*/ 5040313 w 2"/>
              <a:gd name="T29" fmla="*/ 5040313 h 4"/>
              <a:gd name="T30" fmla="*/ 5040313 w 2"/>
              <a:gd name="T31" fmla="*/ 5040313 h 4"/>
              <a:gd name="T32" fmla="*/ 5040313 w 2"/>
              <a:gd name="T33" fmla="*/ 5040313 h 4"/>
              <a:gd name="T34" fmla="*/ 5040313 w 2"/>
              <a:gd name="T35" fmla="*/ 5040313 h 4"/>
              <a:gd name="T36" fmla="*/ 5040313 w 2"/>
              <a:gd name="T37" fmla="*/ 5040313 h 4"/>
              <a:gd name="T38" fmla="*/ 5040313 w 2"/>
              <a:gd name="T39" fmla="*/ 5040313 h 4"/>
              <a:gd name="T40" fmla="*/ 5040313 w 2"/>
              <a:gd name="T41" fmla="*/ 5040313 h 4"/>
              <a:gd name="T42" fmla="*/ 5040313 w 2"/>
              <a:gd name="T43" fmla="*/ 5040313 h 4"/>
              <a:gd name="T44" fmla="*/ 5040313 w 2"/>
              <a:gd name="T45" fmla="*/ 5040313 h 4"/>
              <a:gd name="T46" fmla="*/ 5040313 w 2"/>
              <a:gd name="T47" fmla="*/ 5040313 h 4"/>
              <a:gd name="T48" fmla="*/ 5040313 w 2"/>
              <a:gd name="T49" fmla="*/ 5040313 h 4"/>
              <a:gd name="T50" fmla="*/ 5040313 w 2"/>
              <a:gd name="T51" fmla="*/ 5040313 h 4"/>
              <a:gd name="T52" fmla="*/ 0 w 2"/>
              <a:gd name="T53" fmla="*/ 5040313 h 4"/>
              <a:gd name="T54" fmla="*/ 5040313 w 2"/>
              <a:gd name="T55" fmla="*/ 10080625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41"/>
          <p:cNvSpPr>
            <a:spLocks/>
          </p:cNvSpPr>
          <p:nvPr/>
        </p:nvSpPr>
        <p:spPr bwMode="auto">
          <a:xfrm>
            <a:off x="706438" y="479425"/>
            <a:ext cx="1587" cy="6350"/>
          </a:xfrm>
          <a:custGeom>
            <a:avLst/>
            <a:gdLst>
              <a:gd name="T0" fmla="*/ 0 w 1587"/>
              <a:gd name="T1" fmla="*/ 10080625 h 4"/>
              <a:gd name="T2" fmla="*/ 0 w 1587"/>
              <a:gd name="T3" fmla="*/ 5040313 h 4"/>
              <a:gd name="T4" fmla="*/ 0 w 1587"/>
              <a:gd name="T5" fmla="*/ 0 h 4"/>
              <a:gd name="T6" fmla="*/ 0 w 1587"/>
              <a:gd name="T7" fmla="*/ 0 h 4"/>
              <a:gd name="T8" fmla="*/ 0 w 1587"/>
              <a:gd name="T9" fmla="*/ 5040313 h 4"/>
              <a:gd name="T10" fmla="*/ 0 w 1587"/>
              <a:gd name="T11" fmla="*/ 5040313 h 4"/>
              <a:gd name="T12" fmla="*/ 0 w 1587"/>
              <a:gd name="T13" fmla="*/ 10080625 h 4"/>
              <a:gd name="T14" fmla="*/ 0 w 1587"/>
              <a:gd name="T15" fmla="*/ 5040313 h 4"/>
              <a:gd name="T16" fmla="*/ 0 w 1587"/>
              <a:gd name="T17" fmla="*/ 5040313 h 4"/>
              <a:gd name="T18" fmla="*/ 0 w 1587"/>
              <a:gd name="T19" fmla="*/ 5040313 h 4"/>
              <a:gd name="T20" fmla="*/ 0 w 1587"/>
              <a:gd name="T21" fmla="*/ 5040313 h 4"/>
              <a:gd name="T22" fmla="*/ 0 w 1587"/>
              <a:gd name="T23" fmla="*/ 5040313 h 4"/>
              <a:gd name="T24" fmla="*/ 0 w 1587"/>
              <a:gd name="T25" fmla="*/ 5040313 h 4"/>
              <a:gd name="T26" fmla="*/ 0 w 1587"/>
              <a:gd name="T27" fmla="*/ 5040313 h 4"/>
              <a:gd name="T28" fmla="*/ 0 w 1587"/>
              <a:gd name="T29" fmla="*/ 10080625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48"/>
          <p:cNvSpPr>
            <a:spLocks/>
          </p:cNvSpPr>
          <p:nvPr/>
        </p:nvSpPr>
        <p:spPr bwMode="auto">
          <a:xfrm>
            <a:off x="693738" y="460375"/>
            <a:ext cx="3175" cy="3175"/>
          </a:xfrm>
          <a:custGeom>
            <a:avLst/>
            <a:gdLst>
              <a:gd name="T0" fmla="*/ 5040313 w 2"/>
              <a:gd name="T1" fmla="*/ 5040313 h 2"/>
              <a:gd name="T2" fmla="*/ 5040313 w 2"/>
              <a:gd name="T3" fmla="*/ 0 h 2"/>
              <a:gd name="T4" fmla="*/ 5040313 w 2"/>
              <a:gd name="T5" fmla="*/ 0 h 2"/>
              <a:gd name="T6" fmla="*/ 5040313 w 2"/>
              <a:gd name="T7" fmla="*/ 0 h 2"/>
              <a:gd name="T8" fmla="*/ 5040313 w 2"/>
              <a:gd name="T9" fmla="*/ 0 h 2"/>
              <a:gd name="T10" fmla="*/ 0 w 2"/>
              <a:gd name="T11" fmla="*/ 0 h 2"/>
              <a:gd name="T12" fmla="*/ 0 w 2"/>
              <a:gd name="T13" fmla="*/ 0 h 2"/>
              <a:gd name="T14" fmla="*/ 0 w 2"/>
              <a:gd name="T15" fmla="*/ 5040313 h 2"/>
              <a:gd name="T16" fmla="*/ 0 w 2"/>
              <a:gd name="T17" fmla="*/ 5040313 h 2"/>
              <a:gd name="T18" fmla="*/ 0 w 2"/>
              <a:gd name="T19" fmla="*/ 5040313 h 2"/>
              <a:gd name="T20" fmla="*/ 5040313 w 2"/>
              <a:gd name="T21" fmla="*/ 5040313 h 2"/>
              <a:gd name="T22" fmla="*/ 5040313 w 2"/>
              <a:gd name="T23" fmla="*/ 5040313 h 2"/>
              <a:gd name="T24" fmla="*/ 5040313 w 2"/>
              <a:gd name="T25" fmla="*/ 0 h 2"/>
              <a:gd name="T26" fmla="*/ 5040313 w 2"/>
              <a:gd name="T27" fmla="*/ 0 h 2"/>
              <a:gd name="T28" fmla="*/ 5040313 w 2"/>
              <a:gd name="T29" fmla="*/ 0 h 2"/>
              <a:gd name="T30" fmla="*/ 0 w 2"/>
              <a:gd name="T31" fmla="*/ 5040313 h 2"/>
              <a:gd name="T32" fmla="*/ 5040313 w 2"/>
              <a:gd name="T33" fmla="*/ 5040313 h 2"/>
              <a:gd name="T34" fmla="*/ 5040313 w 2"/>
              <a:gd name="T35" fmla="*/ 0 h 2"/>
              <a:gd name="T36" fmla="*/ 0 w 2"/>
              <a:gd name="T37" fmla="*/ 5040313 h 2"/>
              <a:gd name="T38" fmla="*/ 5040313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0 w 2"/>
              <a:gd name="T55" fmla="*/ 5040313 h 2"/>
              <a:gd name="T56" fmla="*/ 0 w 2"/>
              <a:gd name="T57" fmla="*/ 5040313 h 2"/>
              <a:gd name="T58" fmla="*/ 5040313 w 2"/>
              <a:gd name="T59" fmla="*/ 5040313 h 2"/>
              <a:gd name="T60" fmla="*/ 5040313 w 2"/>
              <a:gd name="T61" fmla="*/ 5040313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0"/>
          <p:cNvSpPr>
            <a:spLocks/>
          </p:cNvSpPr>
          <p:nvPr/>
        </p:nvSpPr>
        <p:spPr bwMode="auto">
          <a:xfrm>
            <a:off x="684213" y="447675"/>
            <a:ext cx="1587" cy="3175"/>
          </a:xfrm>
          <a:custGeom>
            <a:avLst/>
            <a:gdLst>
              <a:gd name="T0" fmla="*/ 0 w 1587"/>
              <a:gd name="T1" fmla="*/ 5040313 h 2"/>
              <a:gd name="T2" fmla="*/ 0 w 1587"/>
              <a:gd name="T3" fmla="*/ 0 h 2"/>
              <a:gd name="T4" fmla="*/ 0 w 1587"/>
              <a:gd name="T5" fmla="*/ 5040313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2"/>
          <p:cNvSpPr>
            <a:spLocks/>
          </p:cNvSpPr>
          <p:nvPr/>
        </p:nvSpPr>
        <p:spPr bwMode="auto">
          <a:xfrm>
            <a:off x="684213" y="447675"/>
            <a:ext cx="3175" cy="3175"/>
          </a:xfrm>
          <a:custGeom>
            <a:avLst/>
            <a:gdLst>
              <a:gd name="T0" fmla="*/ 5040313 w 2"/>
              <a:gd name="T1" fmla="*/ 0 h 2"/>
              <a:gd name="T2" fmla="*/ 0 w 2"/>
              <a:gd name="T3" fmla="*/ 0 h 2"/>
              <a:gd name="T4" fmla="*/ 0 w 2"/>
              <a:gd name="T5" fmla="*/ 0 h 2"/>
              <a:gd name="T6" fmla="*/ 0 w 2"/>
              <a:gd name="T7" fmla="*/ 0 h 2"/>
              <a:gd name="T8" fmla="*/ 0 w 2"/>
              <a:gd name="T9" fmla="*/ 5040313 h 2"/>
              <a:gd name="T10" fmla="*/ 5040313 w 2"/>
              <a:gd name="T11" fmla="*/ 5040313 h 2"/>
              <a:gd name="T12" fmla="*/ 5040313 w 2"/>
              <a:gd name="T13" fmla="*/ 0 h 2"/>
              <a:gd name="T14" fmla="*/ 0 w 2"/>
              <a:gd name="T15" fmla="*/ 0 h 2"/>
              <a:gd name="T16" fmla="*/ 0 w 2"/>
              <a:gd name="T17" fmla="*/ 0 h 2"/>
              <a:gd name="T18" fmla="*/ 0 w 2"/>
              <a:gd name="T19" fmla="*/ 0 h 2"/>
              <a:gd name="T20" fmla="*/ 0 w 2"/>
              <a:gd name="T21" fmla="*/ 5040313 h 2"/>
              <a:gd name="T22" fmla="*/ 5040313 w 2"/>
              <a:gd name="T23" fmla="*/ 5040313 h 2"/>
              <a:gd name="T24" fmla="*/ 5040313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54"/>
          <p:cNvSpPr>
            <a:spLocks/>
          </p:cNvSpPr>
          <p:nvPr/>
        </p:nvSpPr>
        <p:spPr bwMode="auto">
          <a:xfrm>
            <a:off x="665163" y="434975"/>
            <a:ext cx="3175" cy="1588"/>
          </a:xfrm>
          <a:custGeom>
            <a:avLst/>
            <a:gdLst>
              <a:gd name="T0" fmla="*/ 5040313 w 2"/>
              <a:gd name="T1" fmla="*/ 0 h 1588"/>
              <a:gd name="T2" fmla="*/ 0 w 2"/>
              <a:gd name="T3" fmla="*/ 0 h 1588"/>
              <a:gd name="T4" fmla="*/ 5040313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56"/>
          <p:cNvSpPr>
            <a:spLocks/>
          </p:cNvSpPr>
          <p:nvPr/>
        </p:nvSpPr>
        <p:spPr bwMode="auto">
          <a:xfrm>
            <a:off x="665163" y="431800"/>
            <a:ext cx="3175" cy="3175"/>
          </a:xfrm>
          <a:custGeom>
            <a:avLst/>
            <a:gdLst>
              <a:gd name="T0" fmla="*/ 5040313 w 2"/>
              <a:gd name="T1" fmla="*/ 5040313 h 2"/>
              <a:gd name="T2" fmla="*/ 0 w 2"/>
              <a:gd name="T3" fmla="*/ 0 h 2"/>
              <a:gd name="T4" fmla="*/ 0 w 2"/>
              <a:gd name="T5" fmla="*/ 0 h 2"/>
              <a:gd name="T6" fmla="*/ 0 w 2"/>
              <a:gd name="T7" fmla="*/ 5040313 h 2"/>
              <a:gd name="T8" fmla="*/ 5040313 w 2"/>
              <a:gd name="T9" fmla="*/ 5040313 h 2"/>
              <a:gd name="T10" fmla="*/ 5040313 w 2"/>
              <a:gd name="T11" fmla="*/ 5040313 h 2"/>
              <a:gd name="T12" fmla="*/ 5040313 w 2"/>
              <a:gd name="T13" fmla="*/ 5040313 h 2"/>
              <a:gd name="T14" fmla="*/ 0 w 2"/>
              <a:gd name="T15" fmla="*/ 0 h 2"/>
              <a:gd name="T16" fmla="*/ 0 w 2"/>
              <a:gd name="T17" fmla="*/ 0 h 2"/>
              <a:gd name="T18" fmla="*/ 0 w 2"/>
              <a:gd name="T19" fmla="*/ 5040313 h 2"/>
              <a:gd name="T20" fmla="*/ 5040313 w 2"/>
              <a:gd name="T21" fmla="*/ 5040313 h 2"/>
              <a:gd name="T22" fmla="*/ 5040313 w 2"/>
              <a:gd name="T23" fmla="*/ 5040313 h 2"/>
              <a:gd name="T24" fmla="*/ 5040313 w 2"/>
              <a:gd name="T25" fmla="*/ 5040313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63"/>
          <p:cNvSpPr>
            <a:spLocks/>
          </p:cNvSpPr>
          <p:nvPr/>
        </p:nvSpPr>
        <p:spPr bwMode="auto">
          <a:xfrm>
            <a:off x="611188" y="415925"/>
            <a:ext cx="6350" cy="3175"/>
          </a:xfrm>
          <a:custGeom>
            <a:avLst/>
            <a:gdLst>
              <a:gd name="T0" fmla="*/ 5040313 w 4"/>
              <a:gd name="T1" fmla="*/ 5040313 h 2"/>
              <a:gd name="T2" fmla="*/ 5040313 w 4"/>
              <a:gd name="T3" fmla="*/ 5040313 h 2"/>
              <a:gd name="T4" fmla="*/ 10080625 w 4"/>
              <a:gd name="T5" fmla="*/ 5040313 h 2"/>
              <a:gd name="T6" fmla="*/ 10080625 w 4"/>
              <a:gd name="T7" fmla="*/ 0 h 2"/>
              <a:gd name="T8" fmla="*/ 10080625 w 4"/>
              <a:gd name="T9" fmla="*/ 0 h 2"/>
              <a:gd name="T10" fmla="*/ 5040313 w 4"/>
              <a:gd name="T11" fmla="*/ 0 h 2"/>
              <a:gd name="T12" fmla="*/ 5040313 w 4"/>
              <a:gd name="T13" fmla="*/ 0 h 2"/>
              <a:gd name="T14" fmla="*/ 0 w 4"/>
              <a:gd name="T15" fmla="*/ 5040313 h 2"/>
              <a:gd name="T16" fmla="*/ 5040313 w 4"/>
              <a:gd name="T17" fmla="*/ 5040313 h 2"/>
              <a:gd name="T18" fmla="*/ 5040313 w 4"/>
              <a:gd name="T19" fmla="*/ 0 h 2"/>
              <a:gd name="T20" fmla="*/ 10080625 w 4"/>
              <a:gd name="T21" fmla="*/ 5040313 h 2"/>
              <a:gd name="T22" fmla="*/ 10080625 w 4"/>
              <a:gd name="T23" fmla="*/ 0 h 2"/>
              <a:gd name="T24" fmla="*/ 10080625 w 4"/>
              <a:gd name="T25" fmla="*/ 0 h 2"/>
              <a:gd name="T26" fmla="*/ 5040313 w 4"/>
              <a:gd name="T27" fmla="*/ 0 h 2"/>
              <a:gd name="T28" fmla="*/ 5040313 w 4"/>
              <a:gd name="T29" fmla="*/ 0 h 2"/>
              <a:gd name="T30" fmla="*/ 0 w 4"/>
              <a:gd name="T31" fmla="*/ 0 h 2"/>
              <a:gd name="T32" fmla="*/ 5040313 w 4"/>
              <a:gd name="T33" fmla="*/ 5040313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72"/>
          <p:cNvSpPr>
            <a:spLocks/>
          </p:cNvSpPr>
          <p:nvPr/>
        </p:nvSpPr>
        <p:spPr bwMode="auto">
          <a:xfrm>
            <a:off x="582613" y="476250"/>
            <a:ext cx="3175" cy="3175"/>
          </a:xfrm>
          <a:custGeom>
            <a:avLst/>
            <a:gdLst>
              <a:gd name="T0" fmla="*/ 0 w 2"/>
              <a:gd name="T1" fmla="*/ 5040313 h 2"/>
              <a:gd name="T2" fmla="*/ 0 w 2"/>
              <a:gd name="T3" fmla="*/ 5040313 h 2"/>
              <a:gd name="T4" fmla="*/ 5040313 w 2"/>
              <a:gd name="T5" fmla="*/ 5040313 h 2"/>
              <a:gd name="T6" fmla="*/ 0 w 2"/>
              <a:gd name="T7" fmla="*/ 0 h 2"/>
              <a:gd name="T8" fmla="*/ 0 w 2"/>
              <a:gd name="T9" fmla="*/ 0 h 2"/>
              <a:gd name="T10" fmla="*/ 0 w 2"/>
              <a:gd name="T11" fmla="*/ 0 h 2"/>
              <a:gd name="T12" fmla="*/ 0 w 2"/>
              <a:gd name="T13" fmla="*/ 5040313 h 2"/>
              <a:gd name="T14" fmla="*/ 0 w 2"/>
              <a:gd name="T15" fmla="*/ 5040313 h 2"/>
              <a:gd name="T16" fmla="*/ 0 w 2"/>
              <a:gd name="T17" fmla="*/ 5040313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0 w 2"/>
              <a:gd name="T29" fmla="*/ 5040313 h 2"/>
              <a:gd name="T30" fmla="*/ 0 w 2"/>
              <a:gd name="T31" fmla="*/ 5040313 h 2"/>
              <a:gd name="T32" fmla="*/ 0 w 2"/>
              <a:gd name="T33" fmla="*/ 5040313 h 2"/>
              <a:gd name="T34" fmla="*/ 0 w 2"/>
              <a:gd name="T35" fmla="*/ 5040313 h 2"/>
              <a:gd name="T36" fmla="*/ 0 w 2"/>
              <a:gd name="T37" fmla="*/ 5040313 h 2"/>
              <a:gd name="T38" fmla="*/ 0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0 w 2"/>
              <a:gd name="T55" fmla="*/ 5040313 h 2"/>
              <a:gd name="T56" fmla="*/ 0 w 2"/>
              <a:gd name="T57" fmla="*/ 5040313 h 2"/>
              <a:gd name="T58" fmla="*/ 0 w 2"/>
              <a:gd name="T59" fmla="*/ 5040313 h 2"/>
              <a:gd name="T60" fmla="*/ 0 w 2"/>
              <a:gd name="T61" fmla="*/ 5040313 h 2"/>
              <a:gd name="T62" fmla="*/ 0 w 2"/>
              <a:gd name="T63" fmla="*/ 5040313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177"/>
          <p:cNvSpPr>
            <a:spLocks/>
          </p:cNvSpPr>
          <p:nvPr/>
        </p:nvSpPr>
        <p:spPr bwMode="auto">
          <a:xfrm>
            <a:off x="557213" y="534988"/>
            <a:ext cx="3175" cy="3175"/>
          </a:xfrm>
          <a:custGeom>
            <a:avLst/>
            <a:gdLst>
              <a:gd name="T0" fmla="*/ 0 w 2"/>
              <a:gd name="T1" fmla="*/ 5040313 h 2"/>
              <a:gd name="T2" fmla="*/ 5040313 w 2"/>
              <a:gd name="T3" fmla="*/ 5040313 h 2"/>
              <a:gd name="T4" fmla="*/ 5040313 w 2"/>
              <a:gd name="T5" fmla="*/ 5040313 h 2"/>
              <a:gd name="T6" fmla="*/ 5040313 w 2"/>
              <a:gd name="T7" fmla="*/ 0 h 2"/>
              <a:gd name="T8" fmla="*/ 5040313 w 2"/>
              <a:gd name="T9" fmla="*/ 0 h 2"/>
              <a:gd name="T10" fmla="*/ 5040313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5040313 h 2"/>
              <a:gd name="T40" fmla="*/ 0 w 2"/>
              <a:gd name="T41" fmla="*/ 5040313 h 2"/>
              <a:gd name="T42" fmla="*/ 5040313 w 2"/>
              <a:gd name="T43" fmla="*/ 5040313 h 2"/>
              <a:gd name="T44" fmla="*/ 5040313 w 2"/>
              <a:gd name="T45" fmla="*/ 0 h 2"/>
              <a:gd name="T46" fmla="*/ 5040313 w 2"/>
              <a:gd name="T47" fmla="*/ 0 h 2"/>
              <a:gd name="T48" fmla="*/ 5040313 w 2"/>
              <a:gd name="T49" fmla="*/ 0 h 2"/>
              <a:gd name="T50" fmla="*/ 5040313 w 2"/>
              <a:gd name="T51" fmla="*/ 0 h 2"/>
              <a:gd name="T52" fmla="*/ 5040313 w 2"/>
              <a:gd name="T53" fmla="*/ 0 h 2"/>
              <a:gd name="T54" fmla="*/ 5040313 w 2"/>
              <a:gd name="T55" fmla="*/ 0 h 2"/>
              <a:gd name="T56" fmla="*/ 5040313 w 2"/>
              <a:gd name="T57" fmla="*/ 0 h 2"/>
              <a:gd name="T58" fmla="*/ 5040313 w 2"/>
              <a:gd name="T59" fmla="*/ 0 h 2"/>
              <a:gd name="T60" fmla="*/ 5040313 w 2"/>
              <a:gd name="T61" fmla="*/ 0 h 2"/>
              <a:gd name="T62" fmla="*/ 5040313 w 2"/>
              <a:gd name="T63" fmla="*/ 0 h 2"/>
              <a:gd name="T64" fmla="*/ 5040313 w 2"/>
              <a:gd name="T65" fmla="*/ 0 h 2"/>
              <a:gd name="T66" fmla="*/ 5040313 w 2"/>
              <a:gd name="T67" fmla="*/ 5040313 h 2"/>
              <a:gd name="T68" fmla="*/ 5040313 w 2"/>
              <a:gd name="T69" fmla="*/ 0 h 2"/>
              <a:gd name="T70" fmla="*/ 5040313 w 2"/>
              <a:gd name="T71" fmla="*/ 0 h 2"/>
              <a:gd name="T72" fmla="*/ 0 w 2"/>
              <a:gd name="T73" fmla="*/ 0 h 2"/>
              <a:gd name="T74" fmla="*/ 0 w 2"/>
              <a:gd name="T75" fmla="*/ 0 h 2"/>
              <a:gd name="T76" fmla="*/ 0 w 2"/>
              <a:gd name="T77" fmla="*/ 5040313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1180"/>
          <p:cNvSpPr>
            <a:spLocks/>
          </p:cNvSpPr>
          <p:nvPr/>
        </p:nvSpPr>
        <p:spPr bwMode="auto">
          <a:xfrm>
            <a:off x="560388" y="530225"/>
            <a:ext cx="3175" cy="4763"/>
          </a:xfrm>
          <a:custGeom>
            <a:avLst/>
            <a:gdLst>
              <a:gd name="T0" fmla="*/ 0 w 2"/>
              <a:gd name="T1" fmla="*/ 7562056 h 3"/>
              <a:gd name="T2" fmla="*/ 0 w 2"/>
              <a:gd name="T3" fmla="*/ 7562056 h 3"/>
              <a:gd name="T4" fmla="*/ 5040313 w 2"/>
              <a:gd name="T5" fmla="*/ 7562056 h 3"/>
              <a:gd name="T6" fmla="*/ 5040313 w 2"/>
              <a:gd name="T7" fmla="*/ 7562056 h 3"/>
              <a:gd name="T8" fmla="*/ 0 w 2"/>
              <a:gd name="T9" fmla="*/ 0 h 3"/>
              <a:gd name="T10" fmla="*/ 0 w 2"/>
              <a:gd name="T11" fmla="*/ 0 h 3"/>
              <a:gd name="T12" fmla="*/ 0 w 2"/>
              <a:gd name="T13" fmla="*/ 0 h 3"/>
              <a:gd name="T14" fmla="*/ 0 w 2"/>
              <a:gd name="T15" fmla="*/ 7562056 h 3"/>
              <a:gd name="T16" fmla="*/ 0 w 2"/>
              <a:gd name="T17" fmla="*/ 7562056 h 3"/>
              <a:gd name="T18" fmla="*/ 0 w 2"/>
              <a:gd name="T19" fmla="*/ 7562056 h 3"/>
              <a:gd name="T20" fmla="*/ 0 w 2"/>
              <a:gd name="T21" fmla="*/ 7562056 h 3"/>
              <a:gd name="T22" fmla="*/ 0 w 2"/>
              <a:gd name="T23" fmla="*/ 0 h 3"/>
              <a:gd name="T24" fmla="*/ 0 w 2"/>
              <a:gd name="T25" fmla="*/ 7562056 h 3"/>
              <a:gd name="T26" fmla="*/ 0 w 2"/>
              <a:gd name="T27" fmla="*/ 7562056 h 3"/>
              <a:gd name="T28" fmla="*/ 0 w 2"/>
              <a:gd name="T29" fmla="*/ 7562056 h 3"/>
              <a:gd name="T30" fmla="*/ 0 w 2"/>
              <a:gd name="T31" fmla="*/ 7562056 h 3"/>
              <a:gd name="T32" fmla="*/ 0 w 2"/>
              <a:gd name="T33" fmla="*/ 7562056 h 3"/>
              <a:gd name="T34" fmla="*/ 0 w 2"/>
              <a:gd name="T35" fmla="*/ 7562056 h 3"/>
              <a:gd name="T36" fmla="*/ 0 w 2"/>
              <a:gd name="T37" fmla="*/ 7562056 h 3"/>
              <a:gd name="T38" fmla="*/ 0 w 2"/>
              <a:gd name="T39" fmla="*/ 7562056 h 3"/>
              <a:gd name="T40" fmla="*/ 0 w 2"/>
              <a:gd name="T41" fmla="*/ 7562056 h 3"/>
              <a:gd name="T42" fmla="*/ 0 w 2"/>
              <a:gd name="T43" fmla="*/ 7562056 h 3"/>
              <a:gd name="T44" fmla="*/ 0 w 2"/>
              <a:gd name="T45" fmla="*/ 7562056 h 3"/>
              <a:gd name="T46" fmla="*/ 0 w 2"/>
              <a:gd name="T47" fmla="*/ 7562056 h 3"/>
              <a:gd name="T48" fmla="*/ 0 w 2"/>
              <a:gd name="T49" fmla="*/ 7562056 h 3"/>
              <a:gd name="T50" fmla="*/ 0 w 2"/>
              <a:gd name="T51" fmla="*/ 7562056 h 3"/>
              <a:gd name="T52" fmla="*/ 0 w 2"/>
              <a:gd name="T53" fmla="*/ 756205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Freeform 1210"/>
          <p:cNvSpPr>
            <a:spLocks/>
          </p:cNvSpPr>
          <p:nvPr/>
        </p:nvSpPr>
        <p:spPr bwMode="auto">
          <a:xfrm>
            <a:off x="595313" y="557213"/>
            <a:ext cx="3175" cy="3175"/>
          </a:xfrm>
          <a:custGeom>
            <a:avLst/>
            <a:gdLst>
              <a:gd name="T0" fmla="*/ 0 w 2"/>
              <a:gd name="T1" fmla="*/ 5040313 h 2"/>
              <a:gd name="T2" fmla="*/ 0 w 2"/>
              <a:gd name="T3" fmla="*/ 5040313 h 2"/>
              <a:gd name="T4" fmla="*/ 5040313 w 2"/>
              <a:gd name="T5" fmla="*/ 5040313 h 2"/>
              <a:gd name="T6" fmla="*/ 5040313 w 2"/>
              <a:gd name="T7" fmla="*/ 0 h 2"/>
              <a:gd name="T8" fmla="*/ 5040313 w 2"/>
              <a:gd name="T9" fmla="*/ 0 h 2"/>
              <a:gd name="T10" fmla="*/ 0 w 2"/>
              <a:gd name="T11" fmla="*/ 0 h 2"/>
              <a:gd name="T12" fmla="*/ 0 w 2"/>
              <a:gd name="T13" fmla="*/ 0 h 2"/>
              <a:gd name="T14" fmla="*/ 0 w 2"/>
              <a:gd name="T15" fmla="*/ 0 h 2"/>
              <a:gd name="T16" fmla="*/ 0 w 2"/>
              <a:gd name="T17" fmla="*/ 5040313 h 2"/>
              <a:gd name="T18" fmla="*/ 0 w 2"/>
              <a:gd name="T19" fmla="*/ 5040313 h 2"/>
              <a:gd name="T20" fmla="*/ 5040313 w 2"/>
              <a:gd name="T21" fmla="*/ 5040313 h 2"/>
              <a:gd name="T22" fmla="*/ 5040313 w 2"/>
              <a:gd name="T23" fmla="*/ 0 h 2"/>
              <a:gd name="T24" fmla="*/ 5040313 w 2"/>
              <a:gd name="T25" fmla="*/ 0 h 2"/>
              <a:gd name="T26" fmla="*/ 0 w 2"/>
              <a:gd name="T27" fmla="*/ 0 h 2"/>
              <a:gd name="T28" fmla="*/ 0 w 2"/>
              <a:gd name="T29" fmla="*/ 0 h 2"/>
              <a:gd name="T30" fmla="*/ 0 w 2"/>
              <a:gd name="T31" fmla="*/ 0 h 2"/>
              <a:gd name="T32" fmla="*/ 0 w 2"/>
              <a:gd name="T33" fmla="*/ 5040313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Freeform 1214"/>
          <p:cNvSpPr>
            <a:spLocks/>
          </p:cNvSpPr>
          <p:nvPr/>
        </p:nvSpPr>
        <p:spPr bwMode="auto">
          <a:xfrm>
            <a:off x="595313" y="557213"/>
            <a:ext cx="3175" cy="3175"/>
          </a:xfrm>
          <a:custGeom>
            <a:avLst/>
            <a:gdLst>
              <a:gd name="T0" fmla="*/ 0 w 2"/>
              <a:gd name="T1" fmla="*/ 5040313 h 2"/>
              <a:gd name="T2" fmla="*/ 5040313 w 2"/>
              <a:gd name="T3" fmla="*/ 5040313 h 2"/>
              <a:gd name="T4" fmla="*/ 0 w 2"/>
              <a:gd name="T5" fmla="*/ 0 h 2"/>
              <a:gd name="T6" fmla="*/ 0 w 2"/>
              <a:gd name="T7" fmla="*/ 5040313 h 2"/>
              <a:gd name="T8" fmla="*/ 0 w 2"/>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1"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1221"/>
          <p:cNvSpPr>
            <a:spLocks/>
          </p:cNvSpPr>
          <p:nvPr/>
        </p:nvSpPr>
        <p:spPr bwMode="auto">
          <a:xfrm>
            <a:off x="731838" y="541338"/>
            <a:ext cx="3175" cy="3175"/>
          </a:xfrm>
          <a:custGeom>
            <a:avLst/>
            <a:gdLst>
              <a:gd name="T0" fmla="*/ 5040313 w 2"/>
              <a:gd name="T1" fmla="*/ 0 h 2"/>
              <a:gd name="T2" fmla="*/ 5040313 w 2"/>
              <a:gd name="T3" fmla="*/ 0 h 2"/>
              <a:gd name="T4" fmla="*/ 5040313 w 2"/>
              <a:gd name="T5" fmla="*/ 0 h 2"/>
              <a:gd name="T6" fmla="*/ 0 w 2"/>
              <a:gd name="T7" fmla="*/ 0 h 2"/>
              <a:gd name="T8" fmla="*/ 0 w 2"/>
              <a:gd name="T9" fmla="*/ 0 h 2"/>
              <a:gd name="T10" fmla="*/ 0 w 2"/>
              <a:gd name="T11" fmla="*/ 5040313 h 2"/>
              <a:gd name="T12" fmla="*/ 5040313 w 2"/>
              <a:gd name="T13" fmla="*/ 0 h 2"/>
              <a:gd name="T14" fmla="*/ 5040313 w 2"/>
              <a:gd name="T15" fmla="*/ 0 h 2"/>
              <a:gd name="T16" fmla="*/ 5040313 w 2"/>
              <a:gd name="T17" fmla="*/ 0 h 2"/>
              <a:gd name="T18" fmla="*/ 0 w 2"/>
              <a:gd name="T19" fmla="*/ 0 h 2"/>
              <a:gd name="T20" fmla="*/ 0 w 2"/>
              <a:gd name="T21" fmla="*/ 0 h 2"/>
              <a:gd name="T22" fmla="*/ 0 w 2"/>
              <a:gd name="T23" fmla="*/ 5040313 h 2"/>
              <a:gd name="T24" fmla="*/ 5040313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Freeform 1234"/>
          <p:cNvSpPr>
            <a:spLocks/>
          </p:cNvSpPr>
          <p:nvPr/>
        </p:nvSpPr>
        <p:spPr bwMode="auto">
          <a:xfrm>
            <a:off x="722313" y="550863"/>
            <a:ext cx="3175" cy="1587"/>
          </a:xfrm>
          <a:custGeom>
            <a:avLst/>
            <a:gdLst>
              <a:gd name="T0" fmla="*/ 0 w 2"/>
              <a:gd name="T1" fmla="*/ 0 h 1587"/>
              <a:gd name="T2" fmla="*/ 0 w 2"/>
              <a:gd name="T3" fmla="*/ 0 h 1587"/>
              <a:gd name="T4" fmla="*/ 5040313 w 2"/>
              <a:gd name="T5" fmla="*/ 0 h 1587"/>
              <a:gd name="T6" fmla="*/ 5040313 w 2"/>
              <a:gd name="T7" fmla="*/ 0 h 1587"/>
              <a:gd name="T8" fmla="*/ 5040313 w 2"/>
              <a:gd name="T9" fmla="*/ 0 h 1587"/>
              <a:gd name="T10" fmla="*/ 5040313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5040313 w 2"/>
              <a:gd name="T25" fmla="*/ 0 h 1587"/>
              <a:gd name="T26" fmla="*/ 5040313 w 2"/>
              <a:gd name="T27" fmla="*/ 0 h 1587"/>
              <a:gd name="T28" fmla="*/ 5040313 w 2"/>
              <a:gd name="T29" fmla="*/ 0 h 1587"/>
              <a:gd name="T30" fmla="*/ 0 w 2"/>
              <a:gd name="T31" fmla="*/ 0 h 1587"/>
              <a:gd name="T32" fmla="*/ 0 w 2"/>
              <a:gd name="T33" fmla="*/ 0 h 1587"/>
              <a:gd name="T34" fmla="*/ 5040313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40"/>
          <p:cNvSpPr>
            <a:spLocks/>
          </p:cNvSpPr>
          <p:nvPr/>
        </p:nvSpPr>
        <p:spPr bwMode="auto">
          <a:xfrm>
            <a:off x="728663" y="541338"/>
            <a:ext cx="1587" cy="3175"/>
          </a:xfrm>
          <a:custGeom>
            <a:avLst/>
            <a:gdLst>
              <a:gd name="T0" fmla="*/ 0 w 1587"/>
              <a:gd name="T1" fmla="*/ 5040313 h 2"/>
              <a:gd name="T2" fmla="*/ 0 w 1587"/>
              <a:gd name="T3" fmla="*/ 5040313 h 2"/>
              <a:gd name="T4" fmla="*/ 0 w 1587"/>
              <a:gd name="T5" fmla="*/ 0 h 2"/>
              <a:gd name="T6" fmla="*/ 0 w 1587"/>
              <a:gd name="T7" fmla="*/ 5040313 h 2"/>
              <a:gd name="T8" fmla="*/ 0 w 1587"/>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43"/>
          <p:cNvSpPr>
            <a:spLocks/>
          </p:cNvSpPr>
          <p:nvPr/>
        </p:nvSpPr>
        <p:spPr bwMode="auto">
          <a:xfrm>
            <a:off x="728663" y="538163"/>
            <a:ext cx="3175" cy="3175"/>
          </a:xfrm>
          <a:custGeom>
            <a:avLst/>
            <a:gdLst>
              <a:gd name="T0" fmla="*/ 5040313 w 2"/>
              <a:gd name="T1" fmla="*/ 5040313 h 2"/>
              <a:gd name="T2" fmla="*/ 5040313 w 2"/>
              <a:gd name="T3" fmla="*/ 5040313 h 2"/>
              <a:gd name="T4" fmla="*/ 5040313 w 2"/>
              <a:gd name="T5" fmla="*/ 5040313 h 2"/>
              <a:gd name="T6" fmla="*/ 5040313 w 2"/>
              <a:gd name="T7" fmla="*/ 5040313 h 2"/>
              <a:gd name="T8" fmla="*/ 0 w 2"/>
              <a:gd name="T9" fmla="*/ 5040313 h 2"/>
              <a:gd name="T10" fmla="*/ 0 w 2"/>
              <a:gd name="T11" fmla="*/ 5040313 h 2"/>
              <a:gd name="T12" fmla="*/ 5040313 w 2"/>
              <a:gd name="T13" fmla="*/ 5040313 h 2"/>
              <a:gd name="T14" fmla="*/ 0 w 2"/>
              <a:gd name="T15" fmla="*/ 5040313 h 2"/>
              <a:gd name="T16" fmla="*/ 0 w 2"/>
              <a:gd name="T17" fmla="*/ 5040313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0 w 2"/>
              <a:gd name="T29" fmla="*/ 5040313 h 2"/>
              <a:gd name="T30" fmla="*/ 0 w 2"/>
              <a:gd name="T31" fmla="*/ 5040313 h 2"/>
              <a:gd name="T32" fmla="*/ 0 w 2"/>
              <a:gd name="T33" fmla="*/ 5040313 h 2"/>
              <a:gd name="T34" fmla="*/ 0 w 2"/>
              <a:gd name="T35" fmla="*/ 5040313 h 2"/>
              <a:gd name="T36" fmla="*/ 0 w 2"/>
              <a:gd name="T37" fmla="*/ 5040313 h 2"/>
              <a:gd name="T38" fmla="*/ 5040313 w 2"/>
              <a:gd name="T39" fmla="*/ 5040313 h 2"/>
              <a:gd name="T40" fmla="*/ 5040313 w 2"/>
              <a:gd name="T41" fmla="*/ 5040313 h 2"/>
              <a:gd name="T42" fmla="*/ 5040313 w 2"/>
              <a:gd name="T43" fmla="*/ 5040313 h 2"/>
              <a:gd name="T44" fmla="*/ 5040313 w 2"/>
              <a:gd name="T45" fmla="*/ 5040313 h 2"/>
              <a:gd name="T46" fmla="*/ 5040313 w 2"/>
              <a:gd name="T47" fmla="*/ 5040313 h 2"/>
              <a:gd name="T48" fmla="*/ 0 w 2"/>
              <a:gd name="T49" fmla="*/ 0 h 2"/>
              <a:gd name="T50" fmla="*/ 0 w 2"/>
              <a:gd name="T51" fmla="*/ 5040313 h 2"/>
              <a:gd name="T52" fmla="*/ 0 w 2"/>
              <a:gd name="T53" fmla="*/ 5040313 h 2"/>
              <a:gd name="T54" fmla="*/ 0 w 2"/>
              <a:gd name="T55" fmla="*/ 5040313 h 2"/>
              <a:gd name="T56" fmla="*/ 5040313 w 2"/>
              <a:gd name="T57" fmla="*/ 5040313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46"/>
          <p:cNvSpPr>
            <a:spLocks/>
          </p:cNvSpPr>
          <p:nvPr/>
        </p:nvSpPr>
        <p:spPr bwMode="auto">
          <a:xfrm>
            <a:off x="725488" y="547688"/>
            <a:ext cx="3175" cy="3175"/>
          </a:xfrm>
          <a:custGeom>
            <a:avLst/>
            <a:gdLst>
              <a:gd name="T0" fmla="*/ 0 w 2"/>
              <a:gd name="T1" fmla="*/ 5040313 h 2"/>
              <a:gd name="T2" fmla="*/ 0 w 2"/>
              <a:gd name="T3" fmla="*/ 5040313 h 2"/>
              <a:gd name="T4" fmla="*/ 5040313 w 2"/>
              <a:gd name="T5" fmla="*/ 0 h 2"/>
              <a:gd name="T6" fmla="*/ 5040313 w 2"/>
              <a:gd name="T7" fmla="*/ 0 h 2"/>
              <a:gd name="T8" fmla="*/ 0 w 2"/>
              <a:gd name="T9" fmla="*/ 0 h 2"/>
              <a:gd name="T10" fmla="*/ 0 w 2"/>
              <a:gd name="T11" fmla="*/ 0 h 2"/>
              <a:gd name="T12" fmla="*/ 0 w 2"/>
              <a:gd name="T13" fmla="*/ 5040313 h 2"/>
              <a:gd name="T14" fmla="*/ 0 w 2"/>
              <a:gd name="T15" fmla="*/ 5040313 h 2"/>
              <a:gd name="T16" fmla="*/ 5040313 w 2"/>
              <a:gd name="T17" fmla="*/ 0 h 2"/>
              <a:gd name="T18" fmla="*/ 5040313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5040313 h 2"/>
              <a:gd name="T48" fmla="*/ 0 w 2"/>
              <a:gd name="T49" fmla="*/ 5040313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50"/>
          <p:cNvSpPr>
            <a:spLocks/>
          </p:cNvSpPr>
          <p:nvPr/>
        </p:nvSpPr>
        <p:spPr bwMode="auto">
          <a:xfrm>
            <a:off x="731838" y="530225"/>
            <a:ext cx="3175" cy="1588"/>
          </a:xfrm>
          <a:custGeom>
            <a:avLst/>
            <a:gdLst>
              <a:gd name="T0" fmla="*/ 5040313 w 2"/>
              <a:gd name="T1" fmla="*/ 0 h 1588"/>
              <a:gd name="T2" fmla="*/ 0 w 2"/>
              <a:gd name="T3" fmla="*/ 0 h 1588"/>
              <a:gd name="T4" fmla="*/ 5040313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1252"/>
          <p:cNvSpPr>
            <a:spLocks/>
          </p:cNvSpPr>
          <p:nvPr/>
        </p:nvSpPr>
        <p:spPr bwMode="auto">
          <a:xfrm>
            <a:off x="731838" y="527050"/>
            <a:ext cx="3175" cy="7938"/>
          </a:xfrm>
          <a:custGeom>
            <a:avLst/>
            <a:gdLst>
              <a:gd name="T0" fmla="*/ 5040313 w 2"/>
              <a:gd name="T1" fmla="*/ 5040630 h 5"/>
              <a:gd name="T2" fmla="*/ 5040313 w 2"/>
              <a:gd name="T3" fmla="*/ 5040630 h 5"/>
              <a:gd name="T4" fmla="*/ 0 w 2"/>
              <a:gd name="T5" fmla="*/ 0 h 5"/>
              <a:gd name="T6" fmla="*/ 0 w 2"/>
              <a:gd name="T7" fmla="*/ 5040630 h 5"/>
              <a:gd name="T8" fmla="*/ 0 w 2"/>
              <a:gd name="T9" fmla="*/ 5040630 h 5"/>
              <a:gd name="T10" fmla="*/ 5040313 w 2"/>
              <a:gd name="T11" fmla="*/ 12602369 h 5"/>
              <a:gd name="T12" fmla="*/ 5040313 w 2"/>
              <a:gd name="T13" fmla="*/ 5040630 h 5"/>
              <a:gd name="T14" fmla="*/ 5040313 w 2"/>
              <a:gd name="T15" fmla="*/ 5040630 h 5"/>
              <a:gd name="T16" fmla="*/ 0 w 2"/>
              <a:gd name="T17" fmla="*/ 0 h 5"/>
              <a:gd name="T18" fmla="*/ 0 w 2"/>
              <a:gd name="T19" fmla="*/ 5040630 h 5"/>
              <a:gd name="T20" fmla="*/ 0 w 2"/>
              <a:gd name="T21" fmla="*/ 5040630 h 5"/>
              <a:gd name="T22" fmla="*/ 5040313 w 2"/>
              <a:gd name="T23" fmla="*/ 12602369 h 5"/>
              <a:gd name="T24" fmla="*/ 5040313 w 2"/>
              <a:gd name="T25" fmla="*/ 504063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1255"/>
          <p:cNvSpPr>
            <a:spLocks/>
          </p:cNvSpPr>
          <p:nvPr/>
        </p:nvSpPr>
        <p:spPr bwMode="auto">
          <a:xfrm>
            <a:off x="712788" y="550863"/>
            <a:ext cx="3175" cy="1587"/>
          </a:xfrm>
          <a:custGeom>
            <a:avLst/>
            <a:gdLst>
              <a:gd name="T0" fmla="*/ 0 w 2"/>
              <a:gd name="T1" fmla="*/ 0 h 1587"/>
              <a:gd name="T2" fmla="*/ 5040313 w 2"/>
              <a:gd name="T3" fmla="*/ 0 h 1587"/>
              <a:gd name="T4" fmla="*/ 5040313 w 2"/>
              <a:gd name="T5" fmla="*/ 0 h 1587"/>
              <a:gd name="T6" fmla="*/ 5040313 w 2"/>
              <a:gd name="T7" fmla="*/ 0 h 1587"/>
              <a:gd name="T8" fmla="*/ 5040313 w 2"/>
              <a:gd name="T9" fmla="*/ 0 h 1587"/>
              <a:gd name="T10" fmla="*/ 0 w 2"/>
              <a:gd name="T11" fmla="*/ 0 h 1587"/>
              <a:gd name="T12" fmla="*/ 0 w 2"/>
              <a:gd name="T13" fmla="*/ 0 h 1587"/>
              <a:gd name="T14" fmla="*/ 0 w 2"/>
              <a:gd name="T15" fmla="*/ 0 h 1587"/>
              <a:gd name="T16" fmla="*/ 0 w 2"/>
              <a:gd name="T17" fmla="*/ 0 h 1587"/>
              <a:gd name="T18" fmla="*/ 5040313 w 2"/>
              <a:gd name="T19" fmla="*/ 0 h 1587"/>
              <a:gd name="T20" fmla="*/ 5040313 w 2"/>
              <a:gd name="T21" fmla="*/ 0 h 1587"/>
              <a:gd name="T22" fmla="*/ 5040313 w 2"/>
              <a:gd name="T23" fmla="*/ 0 h 1587"/>
              <a:gd name="T24" fmla="*/ 5040313 w 2"/>
              <a:gd name="T25" fmla="*/ 0 h 1587"/>
              <a:gd name="T26" fmla="*/ 5040313 w 2"/>
              <a:gd name="T27" fmla="*/ 0 h 1587"/>
              <a:gd name="T28" fmla="*/ 5040313 w 2"/>
              <a:gd name="T29" fmla="*/ 0 h 1587"/>
              <a:gd name="T30" fmla="*/ 5040313 w 2"/>
              <a:gd name="T31" fmla="*/ 0 h 1587"/>
              <a:gd name="T32" fmla="*/ 5040313 w 2"/>
              <a:gd name="T33" fmla="*/ 0 h 1587"/>
              <a:gd name="T34" fmla="*/ 5040313 w 2"/>
              <a:gd name="T35" fmla="*/ 0 h 1587"/>
              <a:gd name="T36" fmla="*/ 5040313 w 2"/>
              <a:gd name="T37" fmla="*/ 0 h 1587"/>
              <a:gd name="T38" fmla="*/ 5040313 w 2"/>
              <a:gd name="T39" fmla="*/ 0 h 1587"/>
              <a:gd name="T40" fmla="*/ 5040313 w 2"/>
              <a:gd name="T41" fmla="*/ 0 h 1587"/>
              <a:gd name="T42" fmla="*/ 5040313 w 2"/>
              <a:gd name="T43" fmla="*/ 0 h 1587"/>
              <a:gd name="T44" fmla="*/ 5040313 w 2"/>
              <a:gd name="T45" fmla="*/ 0 h 1587"/>
              <a:gd name="T46" fmla="*/ 5040313 w 2"/>
              <a:gd name="T47" fmla="*/ 0 h 1587"/>
              <a:gd name="T48" fmla="*/ 5040313 w 2"/>
              <a:gd name="T49" fmla="*/ 0 h 1587"/>
              <a:gd name="T50" fmla="*/ 5040313 w 2"/>
              <a:gd name="T51" fmla="*/ 0 h 1587"/>
              <a:gd name="T52" fmla="*/ 5040313 w 2"/>
              <a:gd name="T53" fmla="*/ 0 h 1587"/>
              <a:gd name="T54" fmla="*/ 5040313 w 2"/>
              <a:gd name="T55" fmla="*/ 0 h 1587"/>
              <a:gd name="T56" fmla="*/ 5040313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4"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1269"/>
          <p:cNvSpPr>
            <a:spLocks/>
          </p:cNvSpPr>
          <p:nvPr/>
        </p:nvSpPr>
        <p:spPr bwMode="auto">
          <a:xfrm>
            <a:off x="728663" y="530225"/>
            <a:ext cx="3175" cy="4763"/>
          </a:xfrm>
          <a:custGeom>
            <a:avLst/>
            <a:gdLst>
              <a:gd name="T0" fmla="*/ 0 w 2"/>
              <a:gd name="T1" fmla="*/ 7562056 h 3"/>
              <a:gd name="T2" fmla="*/ 5040313 w 2"/>
              <a:gd name="T3" fmla="*/ 0 h 3"/>
              <a:gd name="T4" fmla="*/ 5040313 w 2"/>
              <a:gd name="T5" fmla="*/ 0 h 3"/>
              <a:gd name="T6" fmla="*/ 5040313 w 2"/>
              <a:gd name="T7" fmla="*/ 0 h 3"/>
              <a:gd name="T8" fmla="*/ 5040313 w 2"/>
              <a:gd name="T9" fmla="*/ 0 h 3"/>
              <a:gd name="T10" fmla="*/ 0 w 2"/>
              <a:gd name="T11" fmla="*/ 0 h 3"/>
              <a:gd name="T12" fmla="*/ 0 w 2"/>
              <a:gd name="T13" fmla="*/ 0 h 3"/>
              <a:gd name="T14" fmla="*/ 0 w 2"/>
              <a:gd name="T15" fmla="*/ 7562056 h 3"/>
              <a:gd name="T16" fmla="*/ 0 w 2"/>
              <a:gd name="T17" fmla="*/ 7562056 h 3"/>
              <a:gd name="T18" fmla="*/ 5040313 w 2"/>
              <a:gd name="T19" fmla="*/ 0 h 3"/>
              <a:gd name="T20" fmla="*/ 5040313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7562056 h 3"/>
              <a:gd name="T40" fmla="*/ 0 w 2"/>
              <a:gd name="T41" fmla="*/ 756205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0"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1"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1277"/>
          <p:cNvSpPr>
            <a:spLocks/>
          </p:cNvSpPr>
          <p:nvPr/>
        </p:nvSpPr>
        <p:spPr bwMode="auto">
          <a:xfrm>
            <a:off x="728663" y="523875"/>
            <a:ext cx="1587" cy="3175"/>
          </a:xfrm>
          <a:custGeom>
            <a:avLst/>
            <a:gdLst>
              <a:gd name="T0" fmla="*/ 0 w 1587"/>
              <a:gd name="T1" fmla="*/ 5040313 h 2"/>
              <a:gd name="T2" fmla="*/ 0 w 1587"/>
              <a:gd name="T3" fmla="*/ 5040313 h 2"/>
              <a:gd name="T4" fmla="*/ 0 w 1587"/>
              <a:gd name="T5" fmla="*/ 0 h 2"/>
              <a:gd name="T6" fmla="*/ 0 w 1587"/>
              <a:gd name="T7" fmla="*/ 5040313 h 2"/>
              <a:gd name="T8" fmla="*/ 0 w 1587"/>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Freeform 1287"/>
          <p:cNvSpPr>
            <a:spLocks/>
          </p:cNvSpPr>
          <p:nvPr/>
        </p:nvSpPr>
        <p:spPr bwMode="auto">
          <a:xfrm>
            <a:off x="719138" y="514350"/>
            <a:ext cx="3175" cy="3175"/>
          </a:xfrm>
          <a:custGeom>
            <a:avLst/>
            <a:gdLst>
              <a:gd name="T0" fmla="*/ 0 w 2"/>
              <a:gd name="T1" fmla="*/ 0 h 2"/>
              <a:gd name="T2" fmla="*/ 0 w 2"/>
              <a:gd name="T3" fmla="*/ 5040313 h 2"/>
              <a:gd name="T4" fmla="*/ 5040313 w 2"/>
              <a:gd name="T5" fmla="*/ 5040313 h 2"/>
              <a:gd name="T6" fmla="*/ 5040313 w 2"/>
              <a:gd name="T7" fmla="*/ 5040313 h 2"/>
              <a:gd name="T8" fmla="*/ 5040313 w 2"/>
              <a:gd name="T9" fmla="*/ 5040313 h 2"/>
              <a:gd name="T10" fmla="*/ 5040313 w 2"/>
              <a:gd name="T11" fmla="*/ 0 h 2"/>
              <a:gd name="T12" fmla="*/ 0 w 2"/>
              <a:gd name="T13" fmla="*/ 0 h 2"/>
              <a:gd name="T14" fmla="*/ 0 w 2"/>
              <a:gd name="T15" fmla="*/ 0 h 2"/>
              <a:gd name="T16" fmla="*/ 0 w 2"/>
              <a:gd name="T17" fmla="*/ 5040313 h 2"/>
              <a:gd name="T18" fmla="*/ 0 w 2"/>
              <a:gd name="T19" fmla="*/ 5040313 h 2"/>
              <a:gd name="T20" fmla="*/ 0 w 2"/>
              <a:gd name="T21" fmla="*/ 5040313 h 2"/>
              <a:gd name="T22" fmla="*/ 0 w 2"/>
              <a:gd name="T23" fmla="*/ 5040313 h 2"/>
              <a:gd name="T24" fmla="*/ 5040313 w 2"/>
              <a:gd name="T25" fmla="*/ 5040313 h 2"/>
              <a:gd name="T26" fmla="*/ 5040313 w 2"/>
              <a:gd name="T27" fmla="*/ 5040313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Freeform 1290"/>
          <p:cNvSpPr>
            <a:spLocks/>
          </p:cNvSpPr>
          <p:nvPr/>
        </p:nvSpPr>
        <p:spPr bwMode="auto">
          <a:xfrm>
            <a:off x="719138" y="517525"/>
            <a:ext cx="3175" cy="3175"/>
          </a:xfrm>
          <a:custGeom>
            <a:avLst/>
            <a:gdLst>
              <a:gd name="T0" fmla="*/ 0 w 2"/>
              <a:gd name="T1" fmla="*/ 5040313 h 2"/>
              <a:gd name="T2" fmla="*/ 0 w 2"/>
              <a:gd name="T3" fmla="*/ 5040313 h 2"/>
              <a:gd name="T4" fmla="*/ 5040313 w 2"/>
              <a:gd name="T5" fmla="*/ 5040313 h 2"/>
              <a:gd name="T6" fmla="*/ 5040313 w 2"/>
              <a:gd name="T7" fmla="*/ 5040313 h 2"/>
              <a:gd name="T8" fmla="*/ 5040313 w 2"/>
              <a:gd name="T9" fmla="*/ 5040313 h 2"/>
              <a:gd name="T10" fmla="*/ 5040313 w 2"/>
              <a:gd name="T11" fmla="*/ 0 h 2"/>
              <a:gd name="T12" fmla="*/ 0 w 2"/>
              <a:gd name="T13" fmla="*/ 0 h 2"/>
              <a:gd name="T14" fmla="*/ 0 w 2"/>
              <a:gd name="T15" fmla="*/ 0 h 2"/>
              <a:gd name="T16" fmla="*/ 0 w 2"/>
              <a:gd name="T17" fmla="*/ 0 h 2"/>
              <a:gd name="T18" fmla="*/ 0 w 2"/>
              <a:gd name="T19" fmla="*/ 0 h 2"/>
              <a:gd name="T20" fmla="*/ 5040313 w 2"/>
              <a:gd name="T21" fmla="*/ 0 h 2"/>
              <a:gd name="T22" fmla="*/ 0 w 2"/>
              <a:gd name="T23" fmla="*/ 0 h 2"/>
              <a:gd name="T24" fmla="*/ 0 w 2"/>
              <a:gd name="T25" fmla="*/ 0 h 2"/>
              <a:gd name="T26" fmla="*/ 0 w 2"/>
              <a:gd name="T27" fmla="*/ 0 h 2"/>
              <a:gd name="T28" fmla="*/ 0 w 2"/>
              <a:gd name="T29" fmla="*/ 0 h 2"/>
              <a:gd name="T30" fmla="*/ 0 w 2"/>
              <a:gd name="T31" fmla="*/ 5040313 h 2"/>
              <a:gd name="T32" fmla="*/ 0 w 2"/>
              <a:gd name="T33" fmla="*/ 5040313 h 2"/>
              <a:gd name="T34" fmla="*/ 0 w 2"/>
              <a:gd name="T35" fmla="*/ 5040313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5040313 h 2"/>
              <a:gd name="T50" fmla="*/ 5040313 w 2"/>
              <a:gd name="T51" fmla="*/ 5040313 h 2"/>
              <a:gd name="T52" fmla="*/ 5040313 w 2"/>
              <a:gd name="T53" fmla="*/ 0 h 2"/>
              <a:gd name="T54" fmla="*/ 5040313 w 2"/>
              <a:gd name="T55" fmla="*/ 0 h 2"/>
              <a:gd name="T56" fmla="*/ 0 w 2"/>
              <a:gd name="T57" fmla="*/ 0 h 2"/>
              <a:gd name="T58" fmla="*/ 0 w 2"/>
              <a:gd name="T59" fmla="*/ 0 h 2"/>
              <a:gd name="T60" fmla="*/ 0 w 2"/>
              <a:gd name="T61" fmla="*/ 5040313 h 2"/>
              <a:gd name="T62" fmla="*/ 0 w 2"/>
              <a:gd name="T63" fmla="*/ 5040313 h 2"/>
              <a:gd name="T64" fmla="*/ 5040313 w 2"/>
              <a:gd name="T65" fmla="*/ 5040313 h 2"/>
              <a:gd name="T66" fmla="*/ 5040313 w 2"/>
              <a:gd name="T67" fmla="*/ 5040313 h 2"/>
              <a:gd name="T68" fmla="*/ 0 w 2"/>
              <a:gd name="T69" fmla="*/ 5040313 h 2"/>
              <a:gd name="T70" fmla="*/ 0 w 2"/>
              <a:gd name="T71" fmla="*/ 5040313 h 2"/>
              <a:gd name="T72" fmla="*/ 0 w 2"/>
              <a:gd name="T73" fmla="*/ 5040313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7"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63"/>
          <p:cNvSpPr>
            <a:spLocks noChangeArrowheads="1"/>
          </p:cNvSpPr>
          <p:nvPr/>
        </p:nvSpPr>
        <p:spPr bwMode="auto">
          <a:xfrm>
            <a:off x="0" y="4302125"/>
            <a:ext cx="9144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pic>
        <p:nvPicPr>
          <p:cNvPr id="6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1475" y="4916488"/>
            <a:ext cx="4141788" cy="82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6" name="Group 65"/>
          <p:cNvGrpSpPr>
            <a:grpSpLocks/>
          </p:cNvGrpSpPr>
          <p:nvPr userDrawn="1"/>
        </p:nvGrpSpPr>
        <p:grpSpPr bwMode="auto">
          <a:xfrm>
            <a:off x="371475" y="6269038"/>
            <a:ext cx="8224838" cy="260350"/>
            <a:chOff x="202219" y="1895846"/>
            <a:chExt cx="8223381" cy="261239"/>
          </a:xfrm>
        </p:grpSpPr>
        <p:sp>
          <p:nvSpPr>
            <p:cNvPr id="67" name="TextBox 66"/>
            <p:cNvSpPr txBox="1">
              <a:spLocks noChangeArrowheads="1"/>
            </p:cNvSpPr>
            <p:nvPr userDrawn="1"/>
          </p:nvSpPr>
          <p:spPr bwMode="auto">
            <a:xfrm>
              <a:off x="202219" y="1895846"/>
              <a:ext cx="8223381" cy="215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eaLnBrk="0" hangingPunct="0">
                <a:defRPr sz="1600" b="1">
                  <a:solidFill>
                    <a:schemeClr val="tx1"/>
                  </a:solidFill>
                  <a:latin typeface="Trebuchet MS" pitchFamily="34" charset="0"/>
                  <a:ea typeface="MS PGothic" pitchFamily="34" charset="-128"/>
                </a:defRPr>
              </a:lvl1pPr>
              <a:lvl2pPr marL="742950" indent="-285750" defTabSz="457200" eaLnBrk="0" hangingPunct="0">
                <a:defRPr sz="1600" b="1">
                  <a:solidFill>
                    <a:schemeClr val="tx1"/>
                  </a:solidFill>
                  <a:latin typeface="Trebuchet MS" pitchFamily="34" charset="0"/>
                  <a:ea typeface="MS PGothic" pitchFamily="34" charset="-128"/>
                </a:defRPr>
              </a:lvl2pPr>
              <a:lvl3pPr marL="1143000" indent="-228600" defTabSz="457200" eaLnBrk="0" hangingPunct="0">
                <a:defRPr sz="1600" b="1">
                  <a:solidFill>
                    <a:schemeClr val="tx1"/>
                  </a:solidFill>
                  <a:latin typeface="Trebuchet MS" pitchFamily="34" charset="0"/>
                  <a:ea typeface="MS PGothic" pitchFamily="34" charset="-128"/>
                </a:defRPr>
              </a:lvl3pPr>
              <a:lvl4pPr marL="1600200" indent="-228600" defTabSz="457200" eaLnBrk="0" hangingPunct="0">
                <a:defRPr sz="1600" b="1">
                  <a:solidFill>
                    <a:schemeClr val="tx1"/>
                  </a:solidFill>
                  <a:latin typeface="Trebuchet MS" pitchFamily="34" charset="0"/>
                  <a:ea typeface="MS PGothic" pitchFamily="34" charset="-128"/>
                </a:defRPr>
              </a:lvl4pPr>
              <a:lvl5pPr marL="2057400" indent="-228600" defTabSz="457200" eaLnBrk="0" hangingPunct="0">
                <a:defRPr sz="1600" b="1">
                  <a:solidFill>
                    <a:schemeClr val="tx1"/>
                  </a:solidFill>
                  <a:latin typeface="Trebuchet MS" pitchFamily="34" charset="0"/>
                  <a:ea typeface="MS PGothic" pitchFamily="34" charset="-128"/>
                </a:defRPr>
              </a:lvl5pPr>
              <a:lvl6pPr marL="25146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ts val="200"/>
                </a:spcBef>
                <a:defRPr/>
              </a:pPr>
              <a:r>
                <a:rPr lang="en-US" altLang="en-US" sz="1400" b="0" dirty="0">
                  <a:latin typeface="+mn-lt"/>
                </a:rPr>
                <a:t>www.worldbank.org/water  |  www.blogs.worldbank.org/water   |        @</a:t>
              </a:r>
              <a:r>
                <a:rPr lang="en-US" altLang="en-US" sz="1400" b="0" dirty="0" err="1">
                  <a:latin typeface="+mn-lt"/>
                </a:rPr>
                <a:t>WorldBankWater</a:t>
              </a:r>
              <a:endParaRPr lang="en-US" altLang="en-US" sz="1400" b="0" dirty="0">
                <a:latin typeface="+mn-lt"/>
              </a:endParaRPr>
            </a:p>
          </p:txBody>
        </p:sp>
        <p:pic>
          <p:nvPicPr>
            <p:cNvPr id="68" name="Picture 5" descr="http://www.clipartbest.com/cliparts/ace/KAn/aceKAnqBi.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282238" y="1919341"/>
              <a:ext cx="237744" cy="237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1" name="Title 329"/>
          <p:cNvSpPr>
            <a:spLocks noGrp="1"/>
          </p:cNvSpPr>
          <p:nvPr>
            <p:ph type="title"/>
          </p:nvPr>
        </p:nvSpPr>
        <p:spPr>
          <a:xfrm>
            <a:off x="1280160" y="1311122"/>
            <a:ext cx="6971806" cy="1107996"/>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72" name="Text Placeholder 331"/>
          <p:cNvSpPr>
            <a:spLocks noGrp="1"/>
          </p:cNvSpPr>
          <p:nvPr>
            <p:ph type="body" sz="quarter" idx="13"/>
          </p:nvPr>
        </p:nvSpPr>
        <p:spPr>
          <a:xfrm>
            <a:off x="1275797" y="2437317"/>
            <a:ext cx="6959257" cy="875885"/>
          </a:xfrm>
          <a:prstGeom prst="rect">
            <a:avLst/>
          </a:prstGeom>
        </p:spPr>
        <p:txBody>
          <a:bodyPr lIns="0" tIns="0" rIns="0" bIns="0">
            <a:normAutofit/>
          </a:bodyPr>
          <a:lstStyle>
            <a:lvl1pPr>
              <a:lnSpc>
                <a:spcPct val="100000"/>
              </a:lnSpc>
              <a:spcBef>
                <a:spcPts val="0"/>
              </a:spcBef>
              <a:defRPr sz="2400" b="0" i="0" cap="none"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75" name="Text Placeholder 331"/>
          <p:cNvSpPr>
            <a:spLocks noGrp="1"/>
          </p:cNvSpPr>
          <p:nvPr>
            <p:ph type="body" sz="quarter" idx="15"/>
          </p:nvPr>
        </p:nvSpPr>
        <p:spPr>
          <a:xfrm>
            <a:off x="1275797" y="3717890"/>
            <a:ext cx="5606270" cy="593759"/>
          </a:xfrm>
          <a:prstGeom prst="rect">
            <a:avLst/>
          </a:prstGeom>
        </p:spPr>
        <p:txBody>
          <a:bodyPr lIns="0" tIns="0" rIns="0" bIns="0" anchor="t"/>
          <a:lstStyle>
            <a:lvl1pPr algn="l">
              <a:lnSpc>
                <a:spcPct val="100000"/>
              </a:lnSpc>
              <a:spcBef>
                <a:spcPts val="0"/>
              </a:spcBef>
              <a:defRPr sz="1500" b="0" i="0" baseline="0">
                <a:solidFill>
                  <a:schemeClr val="bg1"/>
                </a:solidFill>
                <a:latin typeface="Arial"/>
                <a:cs typeface="Arial"/>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Tree>
    <p:extLst>
      <p:ext uri="{BB962C8B-B14F-4D97-AF65-F5344CB8AC3E}">
        <p14:creationId xmlns:p14="http://schemas.microsoft.com/office/powerpoint/2010/main" val="3384854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Two 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0100"/>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600"/>
            </a:lvl1pPr>
            <a:lvl2pPr>
              <a:defRPr sz="22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13"/>
          <p:cNvSpPr>
            <a:spLocks noGrp="1"/>
          </p:cNvSpPr>
          <p:nvPr>
            <p:ph type="sldNum" sz="quarter" idx="10"/>
          </p:nvPr>
        </p:nvSpPr>
        <p:spPr>
          <a:xfrm>
            <a:off x="228600" y="6297613"/>
            <a:ext cx="481013" cy="365125"/>
          </a:xfrm>
        </p:spPr>
        <p:txBody>
          <a:bodyPr lIns="91440" tIns="45720" rIns="91440" bIns="45720" rtlCol="0" anchor="ctr"/>
          <a:lstStyle>
            <a:lvl1pPr algn="r">
              <a:defRPr sz="1000" smtClean="0">
                <a:solidFill>
                  <a:schemeClr val="tx2">
                    <a:lumMod val="65000"/>
                    <a:lumOff val="35000"/>
                  </a:schemeClr>
                </a:solidFill>
                <a:latin typeface="+mj-lt"/>
              </a:defRPr>
            </a:lvl1pPr>
          </a:lstStyle>
          <a:p>
            <a:pPr>
              <a:defRPr/>
            </a:pPr>
            <a:fld id="{04FD7667-51D8-44E0-ABB2-5D3939D04979}" type="slidenum">
              <a:rPr lang="en-US"/>
              <a:pPr>
                <a:defRPr/>
              </a:pPr>
              <a:t>‹#›</a:t>
            </a:fld>
            <a:endParaRPr lang="en-US" dirty="0"/>
          </a:p>
        </p:txBody>
      </p:sp>
    </p:spTree>
    <p:extLst>
      <p:ext uri="{BB962C8B-B14F-4D97-AF65-F5344CB8AC3E}">
        <p14:creationId xmlns:p14="http://schemas.microsoft.com/office/powerpoint/2010/main" val="42689427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01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408386"/>
            <a:ext cx="8229600" cy="471777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eaLnBrk="1" hangingPunct="1">
              <a:defRPr/>
            </a:lvl1pPr>
          </a:lstStyle>
          <a:p>
            <a:pPr>
              <a:defRPr/>
            </a:pPr>
            <a:fld id="{10F3B8AA-4310-43A7-9099-EC1D296C16A6}" type="datetimeFigureOut">
              <a:rPr lang="en-US"/>
              <a:pPr>
                <a:defRPr/>
              </a:pPr>
              <a:t>7/10/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eaLnBrk="1" hangingPunct="1">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91E6B21-F218-4C40-9B01-E93C95F0750E}" type="slidenum">
              <a:rPr lang="en-US"/>
              <a:pPr>
                <a:defRPr/>
              </a:pPr>
              <a:t>‹#›</a:t>
            </a:fld>
            <a:endParaRPr lang="en-US"/>
          </a:p>
        </p:txBody>
      </p:sp>
    </p:spTree>
    <p:extLst>
      <p:ext uri="{BB962C8B-B14F-4D97-AF65-F5344CB8AC3E}">
        <p14:creationId xmlns:p14="http://schemas.microsoft.com/office/powerpoint/2010/main" val="21125705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0100"/>
          </a:xfrm>
          <a:prstGeom prst="rect">
            <a:avLst/>
          </a:prstGeom>
        </p:spPr>
        <p:txBody>
          <a:bodyPr/>
          <a:lstStyle/>
          <a:p>
            <a:r>
              <a:rPr lang="en-US"/>
              <a:t>Click to edit Master title style</a:t>
            </a:r>
          </a:p>
        </p:txBody>
      </p:sp>
      <p:sp>
        <p:nvSpPr>
          <p:cNvPr id="3" name="Date Placeholder 5"/>
          <p:cNvSpPr>
            <a:spLocks noGrp="1"/>
          </p:cNvSpPr>
          <p:nvPr>
            <p:ph type="dt" sz="half" idx="10"/>
          </p:nvPr>
        </p:nvSpPr>
        <p:spPr>
          <a:xfrm rot="5400000">
            <a:off x="7589045" y="1081881"/>
            <a:ext cx="2011362" cy="384175"/>
          </a:xfrm>
          <a:prstGeom prst="rect">
            <a:avLst/>
          </a:prstGeom>
        </p:spPr>
        <p:txBody>
          <a:bodyPr rtlCol="0"/>
          <a:lstStyle>
            <a:lvl1pPr eaLnBrk="1" hangingPunct="1">
              <a:defRPr/>
            </a:lvl1pPr>
          </a:lstStyle>
          <a:p>
            <a:pPr>
              <a:defRPr/>
            </a:pPr>
            <a:fld id="{1348B032-6FF0-4007-AAA7-B2E5709FBC74}" type="datetimeFigureOut">
              <a:rPr lang="en-US"/>
              <a:pPr>
                <a:defRPr/>
              </a:pPr>
              <a:t>7/10/2017</a:t>
            </a:fld>
            <a:endParaRPr lang="en-US"/>
          </a:p>
        </p:txBody>
      </p:sp>
      <p:sp>
        <p:nvSpPr>
          <p:cNvPr id="4" name="Slide Number Placeholder 6"/>
          <p:cNvSpPr>
            <a:spLocks noGrp="1"/>
          </p:cNvSpPr>
          <p:nvPr>
            <p:ph type="sldNum" sz="quarter" idx="11"/>
          </p:nvPr>
        </p:nvSpPr>
        <p:spPr/>
        <p:txBody>
          <a:bodyPr rtlCol="0"/>
          <a:lstStyle>
            <a:lvl1pPr>
              <a:defRPr/>
            </a:lvl1pPr>
          </a:lstStyle>
          <a:p>
            <a:pPr>
              <a:defRPr/>
            </a:pPr>
            <a:fld id="{3B71FC2C-3116-4BA6-9FF7-55309CDAF5C2}" type="slidenum">
              <a:rPr lang="en-US"/>
              <a:pPr>
                <a:defRPr/>
              </a:pPr>
              <a:t>‹#›</a:t>
            </a:fld>
            <a:endParaRPr lang="en-US"/>
          </a:p>
        </p:txBody>
      </p:sp>
      <p:sp>
        <p:nvSpPr>
          <p:cNvPr id="5" name="Footer Placeholder 7"/>
          <p:cNvSpPr>
            <a:spLocks noGrp="1"/>
          </p:cNvSpPr>
          <p:nvPr>
            <p:ph type="ftr" sz="quarter" idx="12"/>
          </p:nvPr>
        </p:nvSpPr>
        <p:spPr>
          <a:xfrm rot="5400000">
            <a:off x="6989763" y="3736975"/>
            <a:ext cx="3200400" cy="365125"/>
          </a:xfrm>
          <a:prstGeom prst="rect">
            <a:avLst/>
          </a:prstGeom>
        </p:spPr>
        <p:txBody>
          <a:bodyPr rtlCol="0"/>
          <a:lstStyle>
            <a:lvl1pPr eaLnBrk="1" hangingPunct="1">
              <a:defRPr/>
            </a:lvl1pPr>
          </a:lstStyle>
          <a:p>
            <a:pPr>
              <a:defRPr/>
            </a:pPr>
            <a:endParaRPr lang="en-US"/>
          </a:p>
        </p:txBody>
      </p:sp>
    </p:spTree>
    <p:extLst>
      <p:ext uri="{BB962C8B-B14F-4D97-AF65-F5344CB8AC3E}">
        <p14:creationId xmlns:p14="http://schemas.microsoft.com/office/powerpoint/2010/main" val="41413862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2" name="Shape 4"/>
          <p:cNvSpPr>
            <a:spLocks noGrp="1"/>
          </p:cNvSpPr>
          <p:nvPr>
            <p:ph type="sldNum" sz="quarter" idx="10"/>
          </p:nvPr>
        </p:nvSpPr>
        <p:spPr/>
        <p:txBody>
          <a:bodyPr/>
          <a:lstStyle>
            <a:lvl1pPr>
              <a:defRPr/>
            </a:lvl1pPr>
          </a:lstStyle>
          <a:p>
            <a:pPr>
              <a:defRPr/>
            </a:pPr>
            <a:fld id="{E5B1DBDD-20EC-40E6-B612-69FFB8A42751}" type="slidenum">
              <a:rPr/>
              <a:pPr>
                <a:defRPr/>
              </a:pPr>
              <a:t>‹#›</a:t>
            </a:fld>
            <a:endParaRPr/>
          </a:p>
        </p:txBody>
      </p:sp>
    </p:spTree>
    <p:extLst>
      <p:ext uri="{BB962C8B-B14F-4D97-AF65-F5344CB8AC3E}">
        <p14:creationId xmlns:p14="http://schemas.microsoft.com/office/powerpoint/2010/main" val="3727283889"/>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lvl1pPr eaLnBrk="1" hangingPunct="1">
              <a:defRPr/>
            </a:lvl1pPr>
          </a:lstStyle>
          <a:p>
            <a:pPr>
              <a:defRPr/>
            </a:pPr>
            <a:fld id="{611270CF-3135-4B2C-B906-A52338AC122A}" type="datetimeFigureOut">
              <a:rPr lang="en-US"/>
              <a:pPr>
                <a:defRPr/>
              </a:pPr>
              <a:t>7/10/2017</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lvl1pPr eaLnBrk="1" hangingPunct="1">
              <a:defRPr/>
            </a:lvl1pPr>
          </a:lstStyle>
          <a:p>
            <a:pPr>
              <a:defRPr/>
            </a:pPr>
            <a:endParaRPr lang="en-US"/>
          </a:p>
        </p:txBody>
      </p:sp>
      <p:sp>
        <p:nvSpPr>
          <p:cNvPr id="4" name="Slide Number Placeholder 3"/>
          <p:cNvSpPr>
            <a:spLocks noGrp="1"/>
          </p:cNvSpPr>
          <p:nvPr>
            <p:ph type="sldNum" sz="quarter" idx="12"/>
          </p:nvPr>
        </p:nvSpPr>
        <p:spPr/>
        <p:txBody>
          <a:bodyPr/>
          <a:lstStyle>
            <a:lvl1pPr>
              <a:defRPr/>
            </a:lvl1pPr>
          </a:lstStyle>
          <a:p>
            <a:pPr>
              <a:defRPr/>
            </a:pPr>
            <a:fld id="{4395683B-7D6B-4DF2-9D7E-01EB7483149D}" type="slidenum">
              <a:rPr lang="en-US"/>
              <a:pPr>
                <a:defRPr/>
              </a:pPr>
              <a:t>‹#›</a:t>
            </a:fld>
            <a:endParaRPr lang="en-US"/>
          </a:p>
        </p:txBody>
      </p:sp>
    </p:spTree>
    <p:extLst>
      <p:ext uri="{BB962C8B-B14F-4D97-AF65-F5344CB8AC3E}">
        <p14:creationId xmlns:p14="http://schemas.microsoft.com/office/powerpoint/2010/main" val="6579277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86868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457200" y="1828800"/>
            <a:ext cx="4056063" cy="4851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65663" y="1828800"/>
            <a:ext cx="4057650" cy="4851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722719"/>
      </p:ext>
    </p:extLst>
  </p:cSld>
  <p:clrMapOvr>
    <a:masterClrMapping/>
  </p:clrMapOvr>
  <p:transition spd="slow">
    <p:cover dir="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Slide 1">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0100"/>
          </a:xfrm>
          <a:prstGeom prst="rect">
            <a:avLst/>
          </a:prstGeo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1"/>
          </p:nvPr>
        </p:nvSpPr>
        <p:spPr>
          <a:xfrm>
            <a:off x="457201" y="1466850"/>
            <a:ext cx="8229600" cy="4592638"/>
          </a:xfrm>
          <a:prstGeom prst="rect">
            <a:avLst/>
          </a:prstGeom>
        </p:spPr>
        <p:txBody>
          <a:bodyPr/>
          <a:lstStyle>
            <a:lvl1pPr marL="457200" marR="0"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lvl1pPr>
            <a:lvl2pPr>
              <a:defRPr>
                <a:solidFill>
                  <a:schemeClr val="bg2"/>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13"/>
          <p:cNvSpPr>
            <a:spLocks noGrp="1"/>
          </p:cNvSpPr>
          <p:nvPr>
            <p:ph type="sldNum" sz="quarter" idx="12"/>
          </p:nvPr>
        </p:nvSpPr>
        <p:spPr>
          <a:xfrm>
            <a:off x="228600" y="6297613"/>
            <a:ext cx="481013" cy="365125"/>
          </a:xfrm>
        </p:spPr>
        <p:txBody>
          <a:bodyPr lIns="91440" tIns="45720" rIns="91440" bIns="45720" rtlCol="0" anchor="ctr"/>
          <a:lstStyle>
            <a:lvl1pPr algn="r">
              <a:defRPr sz="1000" smtClean="0">
                <a:solidFill>
                  <a:schemeClr val="tx2">
                    <a:lumMod val="65000"/>
                    <a:lumOff val="35000"/>
                  </a:schemeClr>
                </a:solidFill>
                <a:latin typeface="+mj-lt"/>
              </a:defRPr>
            </a:lvl1pPr>
          </a:lstStyle>
          <a:p>
            <a:pPr>
              <a:defRPr/>
            </a:pPr>
            <a:fld id="{6FEDB3DD-90AD-4333-BF79-C50800CAAD00}" type="slidenum">
              <a:rPr lang="en-US"/>
              <a:pPr>
                <a:defRPr/>
              </a:pPr>
              <a:t>‹#›</a:t>
            </a:fld>
            <a:endParaRPr lang="en-US" dirty="0"/>
          </a:p>
        </p:txBody>
      </p:sp>
    </p:spTree>
    <p:extLst>
      <p:ext uri="{BB962C8B-B14F-4D97-AF65-F5344CB8AC3E}">
        <p14:creationId xmlns:p14="http://schemas.microsoft.com/office/powerpoint/2010/main" val="2682294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80"/>
          <p:cNvSpPr>
            <a:spLocks noGrp="1" noChangeArrowheads="1"/>
          </p:cNvSpPr>
          <p:nvPr>
            <p:ph type="sldNum" sz="quarter" idx="10"/>
            <p:custDataLst>
              <p:tags r:id="rId1"/>
            </p:custDataLst>
          </p:nvPr>
        </p:nvSpPr>
        <p:spPr/>
        <p:txBody>
          <a:bodyPr/>
          <a:lstStyle>
            <a:lvl1pPr>
              <a:defRPr/>
            </a:lvl1pPr>
          </a:lstStyle>
          <a:p>
            <a:pPr>
              <a:defRPr/>
            </a:pPr>
            <a:fld id="{25B120C8-D4E1-4C2C-B57E-18DB859CCB47}" type="slidenum">
              <a:rPr lang="en-US"/>
              <a:pPr>
                <a:defRPr/>
              </a:pPr>
              <a:t>‹#›</a:t>
            </a:fld>
            <a:r>
              <a:rPr lang="en-US"/>
              <a:t> </a:t>
            </a:r>
          </a:p>
        </p:txBody>
      </p:sp>
    </p:spTree>
    <p:extLst>
      <p:ext uri="{BB962C8B-B14F-4D97-AF65-F5344CB8AC3E}">
        <p14:creationId xmlns:p14="http://schemas.microsoft.com/office/powerpoint/2010/main" val="11792435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cSld name="Two Content Slide with tit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0100"/>
          </a:xfrm>
          <a:prstGeom prst="rect">
            <a:avLst/>
          </a:prstGeo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a:prstGeom prst="rect">
            <a:avLst/>
          </a:prstGeo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a:prstGeom prst="rect">
            <a:avLst/>
          </a:prstGeom>
        </p:spPr>
        <p:txBody>
          <a:bodyPr anchor="b">
            <a:norm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13"/>
          <p:cNvSpPr>
            <a:spLocks noGrp="1"/>
          </p:cNvSpPr>
          <p:nvPr>
            <p:ph type="sldNum" sz="quarter" idx="10"/>
          </p:nvPr>
        </p:nvSpPr>
        <p:spPr>
          <a:xfrm>
            <a:off x="228600" y="6297613"/>
            <a:ext cx="481013" cy="365125"/>
          </a:xfrm>
        </p:spPr>
        <p:txBody>
          <a:bodyPr lIns="91440" tIns="45720" rIns="91440" bIns="45720" rtlCol="0" anchor="ctr"/>
          <a:lstStyle>
            <a:lvl1pPr algn="r">
              <a:defRPr sz="1000" smtClean="0">
                <a:solidFill>
                  <a:schemeClr val="tx2">
                    <a:lumMod val="65000"/>
                    <a:lumOff val="35000"/>
                  </a:schemeClr>
                </a:solidFill>
                <a:latin typeface="+mj-lt"/>
              </a:defRPr>
            </a:lvl1pPr>
          </a:lstStyle>
          <a:p>
            <a:pPr>
              <a:defRPr/>
            </a:pPr>
            <a:fld id="{B5BBDD07-3D15-42F9-B224-3298EE93D88F}" type="slidenum">
              <a:rPr lang="en-US"/>
              <a:pPr>
                <a:defRPr/>
              </a:pPr>
              <a:t>‹#›</a:t>
            </a:fld>
            <a:endParaRPr lang="en-US" dirty="0"/>
          </a:p>
        </p:txBody>
      </p:sp>
    </p:spTree>
    <p:extLst>
      <p:ext uri="{BB962C8B-B14F-4D97-AF65-F5344CB8AC3E}">
        <p14:creationId xmlns:p14="http://schemas.microsoft.com/office/powerpoint/2010/main" val="38599757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hart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0100"/>
          </a:xfrm>
          <a:prstGeom prst="rect">
            <a:avLst/>
          </a:prstGeom>
        </p:spPr>
        <p:txBody>
          <a:bodyPr/>
          <a:lstStyle>
            <a:lvl1pPr>
              <a:defRPr baseline="0"/>
            </a:lvl1pPr>
          </a:lstStyle>
          <a:p>
            <a:r>
              <a:rPr lang="en-US"/>
              <a:t>Click to edit Master title style</a:t>
            </a:r>
            <a:endParaRPr lang="en-US" dirty="0"/>
          </a:p>
        </p:txBody>
      </p:sp>
      <p:sp>
        <p:nvSpPr>
          <p:cNvPr id="10" name="Content Placeholder 9"/>
          <p:cNvSpPr>
            <a:spLocks noGrp="1"/>
          </p:cNvSpPr>
          <p:nvPr>
            <p:ph sz="quarter" idx="12"/>
          </p:nvPr>
        </p:nvSpPr>
        <p:spPr>
          <a:xfrm>
            <a:off x="457200" y="1448563"/>
            <a:ext cx="8229600" cy="4560887"/>
          </a:xfrm>
          <a:prstGeom prst="rect">
            <a:avLst/>
          </a:prstGeom>
        </p:spPr>
        <p:txBody>
          <a:bodyPr/>
          <a:lstStyle>
            <a:lvl1pPr marL="0" indent="0">
              <a:buNone/>
              <a:defRPr baseline="0"/>
            </a:lvl1pPr>
          </a:lstStyle>
          <a:p>
            <a:pPr lvl="0"/>
            <a:r>
              <a:rPr lang="en-US"/>
              <a:t>Click to edit Master text styles</a:t>
            </a:r>
          </a:p>
        </p:txBody>
      </p:sp>
      <p:sp>
        <p:nvSpPr>
          <p:cNvPr id="4" name="Slide Number Placeholder 13"/>
          <p:cNvSpPr>
            <a:spLocks noGrp="1"/>
          </p:cNvSpPr>
          <p:nvPr>
            <p:ph type="sldNum" sz="quarter" idx="13"/>
          </p:nvPr>
        </p:nvSpPr>
        <p:spPr>
          <a:xfrm>
            <a:off x="228600" y="6297613"/>
            <a:ext cx="481013" cy="365125"/>
          </a:xfrm>
        </p:spPr>
        <p:txBody>
          <a:bodyPr lIns="91440" tIns="45720" rIns="91440" bIns="45720" rtlCol="0" anchor="ctr"/>
          <a:lstStyle>
            <a:lvl1pPr algn="r">
              <a:defRPr sz="1000" smtClean="0">
                <a:solidFill>
                  <a:schemeClr val="tx2">
                    <a:lumMod val="65000"/>
                    <a:lumOff val="35000"/>
                  </a:schemeClr>
                </a:solidFill>
                <a:latin typeface="+mj-lt"/>
              </a:defRPr>
            </a:lvl1pPr>
          </a:lstStyle>
          <a:p>
            <a:pPr>
              <a:defRPr/>
            </a:pPr>
            <a:fld id="{F6FD33C5-51E1-47C2-A8A4-4298B8483470}" type="slidenum">
              <a:rPr lang="en-US"/>
              <a:pPr>
                <a:defRPr/>
              </a:pPr>
              <a:t>‹#›</a:t>
            </a:fld>
            <a:endParaRPr lang="en-US" dirty="0"/>
          </a:p>
        </p:txBody>
      </p:sp>
    </p:spTree>
    <p:extLst>
      <p:ext uri="{BB962C8B-B14F-4D97-AF65-F5344CB8AC3E}">
        <p14:creationId xmlns:p14="http://schemas.microsoft.com/office/powerpoint/2010/main" val="17339951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lue Closing Slide">
    <p:spTree>
      <p:nvGrpSpPr>
        <p:cNvPr id="1" name=""/>
        <p:cNvGrpSpPr/>
        <p:nvPr/>
      </p:nvGrpSpPr>
      <p:grpSpPr>
        <a:xfrm>
          <a:off x="0" y="0"/>
          <a:ext cx="0" cy="0"/>
          <a:chOff x="0" y="0"/>
          <a:chExt cx="0" cy="0"/>
        </a:xfrm>
      </p:grpSpPr>
      <p:sp>
        <p:nvSpPr>
          <p:cNvPr id="3" name="Rectangle 5"/>
          <p:cNvSpPr>
            <a:spLocks noChangeArrowheads="1"/>
          </p:cNvSpPr>
          <p:nvPr/>
        </p:nvSpPr>
        <p:spPr bwMode="auto">
          <a:xfrm flipV="1">
            <a:off x="0" y="4487863"/>
            <a:ext cx="9144000" cy="2370137"/>
          </a:xfrm>
          <a:prstGeom prst="rect">
            <a:avLst/>
          </a:prstGeom>
          <a:solidFill>
            <a:schemeClr val="bg1"/>
          </a:solidFill>
          <a:ln>
            <a:noFill/>
          </a:ln>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 name="Rectangle 3"/>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8"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9" name="Freeform 1098"/>
          <p:cNvSpPr>
            <a:spLocks/>
          </p:cNvSpPr>
          <p:nvPr/>
        </p:nvSpPr>
        <p:spPr bwMode="auto">
          <a:xfrm>
            <a:off x="487363" y="617538"/>
            <a:ext cx="3175" cy="1587"/>
          </a:xfrm>
          <a:custGeom>
            <a:avLst/>
            <a:gdLst>
              <a:gd name="T0" fmla="*/ 0 w 2"/>
              <a:gd name="T1" fmla="*/ 0 h 1587"/>
              <a:gd name="T2" fmla="*/ 5040313 w 2"/>
              <a:gd name="T3" fmla="*/ 0 h 1587"/>
              <a:gd name="T4" fmla="*/ 5040313 w 2"/>
              <a:gd name="T5" fmla="*/ 0 h 1587"/>
              <a:gd name="T6" fmla="*/ 5040313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5040313 w 2"/>
              <a:gd name="T35" fmla="*/ 0 h 1587"/>
              <a:gd name="T36" fmla="*/ 5040313 w 2"/>
              <a:gd name="T37" fmla="*/ 0 h 1587"/>
              <a:gd name="T38" fmla="*/ 5040313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1115"/>
          <p:cNvSpPr>
            <a:spLocks/>
          </p:cNvSpPr>
          <p:nvPr/>
        </p:nvSpPr>
        <p:spPr bwMode="auto">
          <a:xfrm>
            <a:off x="458788" y="473075"/>
            <a:ext cx="3175" cy="3175"/>
          </a:xfrm>
          <a:custGeom>
            <a:avLst/>
            <a:gdLst>
              <a:gd name="T0" fmla="*/ 0 w 2"/>
              <a:gd name="T1" fmla="*/ 5040313 h 2"/>
              <a:gd name="T2" fmla="*/ 0 w 2"/>
              <a:gd name="T3" fmla="*/ 5040313 h 2"/>
              <a:gd name="T4" fmla="*/ 0 w 2"/>
              <a:gd name="T5" fmla="*/ 5040313 h 2"/>
              <a:gd name="T6" fmla="*/ 0 w 2"/>
              <a:gd name="T7" fmla="*/ 5040313 h 2"/>
              <a:gd name="T8" fmla="*/ 0 w 2"/>
              <a:gd name="T9" fmla="*/ 5040313 h 2"/>
              <a:gd name="T10" fmla="*/ 0 w 2"/>
              <a:gd name="T11" fmla="*/ 5040313 h 2"/>
              <a:gd name="T12" fmla="*/ 5040313 w 2"/>
              <a:gd name="T13" fmla="*/ 5040313 h 2"/>
              <a:gd name="T14" fmla="*/ 5040313 w 2"/>
              <a:gd name="T15" fmla="*/ 5040313 h 2"/>
              <a:gd name="T16" fmla="*/ 5040313 w 2"/>
              <a:gd name="T17" fmla="*/ 0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5040313 w 2"/>
              <a:gd name="T29" fmla="*/ 5040313 h 2"/>
              <a:gd name="T30" fmla="*/ 5040313 w 2"/>
              <a:gd name="T31" fmla="*/ 5040313 h 2"/>
              <a:gd name="T32" fmla="*/ 5040313 w 2"/>
              <a:gd name="T33" fmla="*/ 5040313 h 2"/>
              <a:gd name="T34" fmla="*/ 5040313 w 2"/>
              <a:gd name="T35" fmla="*/ 5040313 h 2"/>
              <a:gd name="T36" fmla="*/ 5040313 w 2"/>
              <a:gd name="T37" fmla="*/ 5040313 h 2"/>
              <a:gd name="T38" fmla="*/ 5040313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5040313 w 2"/>
              <a:gd name="T55" fmla="*/ 5040313 h 2"/>
              <a:gd name="T56" fmla="*/ 0 w 2"/>
              <a:gd name="T57" fmla="*/ 5040313 h 2"/>
              <a:gd name="T58" fmla="*/ 5040313 w 2"/>
              <a:gd name="T59" fmla="*/ 5040313 h 2"/>
              <a:gd name="T60" fmla="*/ 5040313 w 2"/>
              <a:gd name="T61" fmla="*/ 5040313 h 2"/>
              <a:gd name="T62" fmla="*/ 5040313 w 2"/>
              <a:gd name="T63" fmla="*/ 5040313 h 2"/>
              <a:gd name="T64" fmla="*/ 0 w 2"/>
              <a:gd name="T65" fmla="*/ 5040313 h 2"/>
              <a:gd name="T66" fmla="*/ 0 w 2"/>
              <a:gd name="T67" fmla="*/ 5040313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120"/>
          <p:cNvSpPr>
            <a:spLocks/>
          </p:cNvSpPr>
          <p:nvPr/>
        </p:nvSpPr>
        <p:spPr bwMode="auto">
          <a:xfrm>
            <a:off x="458788" y="463550"/>
            <a:ext cx="3175" cy="3175"/>
          </a:xfrm>
          <a:custGeom>
            <a:avLst/>
            <a:gdLst>
              <a:gd name="T0" fmla="*/ 0 w 2"/>
              <a:gd name="T1" fmla="*/ 0 h 2"/>
              <a:gd name="T2" fmla="*/ 0 w 2"/>
              <a:gd name="T3" fmla="*/ 5040313 h 2"/>
              <a:gd name="T4" fmla="*/ 0 w 2"/>
              <a:gd name="T5" fmla="*/ 5040313 h 2"/>
              <a:gd name="T6" fmla="*/ 0 w 2"/>
              <a:gd name="T7" fmla="*/ 5040313 h 2"/>
              <a:gd name="T8" fmla="*/ 5040313 w 2"/>
              <a:gd name="T9" fmla="*/ 5040313 h 2"/>
              <a:gd name="T10" fmla="*/ 5040313 w 2"/>
              <a:gd name="T11" fmla="*/ 0 h 2"/>
              <a:gd name="T12" fmla="*/ 5040313 w 2"/>
              <a:gd name="T13" fmla="*/ 0 h 2"/>
              <a:gd name="T14" fmla="*/ 5040313 w 2"/>
              <a:gd name="T15" fmla="*/ 0 h 2"/>
              <a:gd name="T16" fmla="*/ 0 w 2"/>
              <a:gd name="T17" fmla="*/ 0 h 2"/>
              <a:gd name="T18" fmla="*/ 0 w 2"/>
              <a:gd name="T19" fmla="*/ 5040313 h 2"/>
              <a:gd name="T20" fmla="*/ 0 w 2"/>
              <a:gd name="T21" fmla="*/ 5040313 h 2"/>
              <a:gd name="T22" fmla="*/ 5040313 w 2"/>
              <a:gd name="T23" fmla="*/ 0 h 2"/>
              <a:gd name="T24" fmla="*/ 5040313 w 2"/>
              <a:gd name="T25" fmla="*/ 0 h 2"/>
              <a:gd name="T26" fmla="*/ 5040313 w 2"/>
              <a:gd name="T27" fmla="*/ 0 h 2"/>
              <a:gd name="T28" fmla="*/ 5040313 w 2"/>
              <a:gd name="T29" fmla="*/ 5040313 h 2"/>
              <a:gd name="T30" fmla="*/ 0 w 2"/>
              <a:gd name="T31" fmla="*/ 5040313 h 2"/>
              <a:gd name="T32" fmla="*/ 0 w 2"/>
              <a:gd name="T33" fmla="*/ 5040313 h 2"/>
              <a:gd name="T34" fmla="*/ 0 w 2"/>
              <a:gd name="T35" fmla="*/ 5040313 h 2"/>
              <a:gd name="T36" fmla="*/ 0 w 2"/>
              <a:gd name="T37" fmla="*/ 5040313 h 2"/>
              <a:gd name="T38" fmla="*/ 0 w 2"/>
              <a:gd name="T39" fmla="*/ 5040313 h 2"/>
              <a:gd name="T40" fmla="*/ 0 w 2"/>
              <a:gd name="T41" fmla="*/ 5040313 h 2"/>
              <a:gd name="T42" fmla="*/ 0 w 2"/>
              <a:gd name="T43" fmla="*/ 5040313 h 2"/>
              <a:gd name="T44" fmla="*/ 0 w 2"/>
              <a:gd name="T45" fmla="*/ 5040313 h 2"/>
              <a:gd name="T46" fmla="*/ 5040313 w 2"/>
              <a:gd name="T47" fmla="*/ 5040313 h 2"/>
              <a:gd name="T48" fmla="*/ 0 w 2"/>
              <a:gd name="T49" fmla="*/ 5040313 h 2"/>
              <a:gd name="T50" fmla="*/ 0 w 2"/>
              <a:gd name="T51" fmla="*/ 5040313 h 2"/>
              <a:gd name="T52" fmla="*/ 5040313 w 2"/>
              <a:gd name="T53" fmla="*/ 5040313 h 2"/>
              <a:gd name="T54" fmla="*/ 5040313 w 2"/>
              <a:gd name="T55" fmla="*/ 5040313 h 2"/>
              <a:gd name="T56" fmla="*/ 5040313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34"/>
          <p:cNvSpPr>
            <a:spLocks/>
          </p:cNvSpPr>
          <p:nvPr/>
        </p:nvSpPr>
        <p:spPr bwMode="auto">
          <a:xfrm>
            <a:off x="703263" y="514350"/>
            <a:ext cx="3175" cy="6350"/>
          </a:xfrm>
          <a:custGeom>
            <a:avLst/>
            <a:gdLst>
              <a:gd name="T0" fmla="*/ 5040313 w 2"/>
              <a:gd name="T1" fmla="*/ 10080625 h 4"/>
              <a:gd name="T2" fmla="*/ 5040313 w 2"/>
              <a:gd name="T3" fmla="*/ 10080625 h 4"/>
              <a:gd name="T4" fmla="*/ 5040313 w 2"/>
              <a:gd name="T5" fmla="*/ 10080625 h 4"/>
              <a:gd name="T6" fmla="*/ 5040313 w 2"/>
              <a:gd name="T7" fmla="*/ 5040313 h 4"/>
              <a:gd name="T8" fmla="*/ 5040313 w 2"/>
              <a:gd name="T9" fmla="*/ 0 h 4"/>
              <a:gd name="T10" fmla="*/ 5040313 w 2"/>
              <a:gd name="T11" fmla="*/ 0 h 4"/>
              <a:gd name="T12" fmla="*/ 5040313 w 2"/>
              <a:gd name="T13" fmla="*/ 0 h 4"/>
              <a:gd name="T14" fmla="*/ 0 w 2"/>
              <a:gd name="T15" fmla="*/ 5040313 h 4"/>
              <a:gd name="T16" fmla="*/ 5040313 w 2"/>
              <a:gd name="T17" fmla="*/ 10080625 h 4"/>
              <a:gd name="T18" fmla="*/ 5040313 w 2"/>
              <a:gd name="T19" fmla="*/ 5040313 h 4"/>
              <a:gd name="T20" fmla="*/ 5040313 w 2"/>
              <a:gd name="T21" fmla="*/ 5040313 h 4"/>
              <a:gd name="T22" fmla="*/ 5040313 w 2"/>
              <a:gd name="T23" fmla="*/ 0 h 4"/>
              <a:gd name="T24" fmla="*/ 5040313 w 2"/>
              <a:gd name="T25" fmla="*/ 5040313 h 4"/>
              <a:gd name="T26" fmla="*/ 5040313 w 2"/>
              <a:gd name="T27" fmla="*/ 5040313 h 4"/>
              <a:gd name="T28" fmla="*/ 5040313 w 2"/>
              <a:gd name="T29" fmla="*/ 5040313 h 4"/>
              <a:gd name="T30" fmla="*/ 5040313 w 2"/>
              <a:gd name="T31" fmla="*/ 5040313 h 4"/>
              <a:gd name="T32" fmla="*/ 5040313 w 2"/>
              <a:gd name="T33" fmla="*/ 5040313 h 4"/>
              <a:gd name="T34" fmla="*/ 5040313 w 2"/>
              <a:gd name="T35" fmla="*/ 5040313 h 4"/>
              <a:gd name="T36" fmla="*/ 5040313 w 2"/>
              <a:gd name="T37" fmla="*/ 5040313 h 4"/>
              <a:gd name="T38" fmla="*/ 5040313 w 2"/>
              <a:gd name="T39" fmla="*/ 5040313 h 4"/>
              <a:gd name="T40" fmla="*/ 5040313 w 2"/>
              <a:gd name="T41" fmla="*/ 5040313 h 4"/>
              <a:gd name="T42" fmla="*/ 5040313 w 2"/>
              <a:gd name="T43" fmla="*/ 5040313 h 4"/>
              <a:gd name="T44" fmla="*/ 5040313 w 2"/>
              <a:gd name="T45" fmla="*/ 5040313 h 4"/>
              <a:gd name="T46" fmla="*/ 5040313 w 2"/>
              <a:gd name="T47" fmla="*/ 5040313 h 4"/>
              <a:gd name="T48" fmla="*/ 5040313 w 2"/>
              <a:gd name="T49" fmla="*/ 5040313 h 4"/>
              <a:gd name="T50" fmla="*/ 5040313 w 2"/>
              <a:gd name="T51" fmla="*/ 5040313 h 4"/>
              <a:gd name="T52" fmla="*/ 0 w 2"/>
              <a:gd name="T53" fmla="*/ 5040313 h 4"/>
              <a:gd name="T54" fmla="*/ 5040313 w 2"/>
              <a:gd name="T55" fmla="*/ 10080625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41"/>
          <p:cNvSpPr>
            <a:spLocks/>
          </p:cNvSpPr>
          <p:nvPr/>
        </p:nvSpPr>
        <p:spPr bwMode="auto">
          <a:xfrm>
            <a:off x="706438" y="479425"/>
            <a:ext cx="1587" cy="6350"/>
          </a:xfrm>
          <a:custGeom>
            <a:avLst/>
            <a:gdLst>
              <a:gd name="T0" fmla="*/ 0 w 1587"/>
              <a:gd name="T1" fmla="*/ 10080625 h 4"/>
              <a:gd name="T2" fmla="*/ 0 w 1587"/>
              <a:gd name="T3" fmla="*/ 5040313 h 4"/>
              <a:gd name="T4" fmla="*/ 0 w 1587"/>
              <a:gd name="T5" fmla="*/ 0 h 4"/>
              <a:gd name="T6" fmla="*/ 0 w 1587"/>
              <a:gd name="T7" fmla="*/ 0 h 4"/>
              <a:gd name="T8" fmla="*/ 0 w 1587"/>
              <a:gd name="T9" fmla="*/ 5040313 h 4"/>
              <a:gd name="T10" fmla="*/ 0 w 1587"/>
              <a:gd name="T11" fmla="*/ 5040313 h 4"/>
              <a:gd name="T12" fmla="*/ 0 w 1587"/>
              <a:gd name="T13" fmla="*/ 10080625 h 4"/>
              <a:gd name="T14" fmla="*/ 0 w 1587"/>
              <a:gd name="T15" fmla="*/ 5040313 h 4"/>
              <a:gd name="T16" fmla="*/ 0 w 1587"/>
              <a:gd name="T17" fmla="*/ 5040313 h 4"/>
              <a:gd name="T18" fmla="*/ 0 w 1587"/>
              <a:gd name="T19" fmla="*/ 5040313 h 4"/>
              <a:gd name="T20" fmla="*/ 0 w 1587"/>
              <a:gd name="T21" fmla="*/ 5040313 h 4"/>
              <a:gd name="T22" fmla="*/ 0 w 1587"/>
              <a:gd name="T23" fmla="*/ 5040313 h 4"/>
              <a:gd name="T24" fmla="*/ 0 w 1587"/>
              <a:gd name="T25" fmla="*/ 5040313 h 4"/>
              <a:gd name="T26" fmla="*/ 0 w 1587"/>
              <a:gd name="T27" fmla="*/ 5040313 h 4"/>
              <a:gd name="T28" fmla="*/ 0 w 1587"/>
              <a:gd name="T29" fmla="*/ 10080625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48"/>
          <p:cNvSpPr>
            <a:spLocks/>
          </p:cNvSpPr>
          <p:nvPr/>
        </p:nvSpPr>
        <p:spPr bwMode="auto">
          <a:xfrm>
            <a:off x="693738" y="460375"/>
            <a:ext cx="3175" cy="3175"/>
          </a:xfrm>
          <a:custGeom>
            <a:avLst/>
            <a:gdLst>
              <a:gd name="T0" fmla="*/ 5040313 w 2"/>
              <a:gd name="T1" fmla="*/ 5040313 h 2"/>
              <a:gd name="T2" fmla="*/ 5040313 w 2"/>
              <a:gd name="T3" fmla="*/ 0 h 2"/>
              <a:gd name="T4" fmla="*/ 5040313 w 2"/>
              <a:gd name="T5" fmla="*/ 0 h 2"/>
              <a:gd name="T6" fmla="*/ 5040313 w 2"/>
              <a:gd name="T7" fmla="*/ 0 h 2"/>
              <a:gd name="T8" fmla="*/ 5040313 w 2"/>
              <a:gd name="T9" fmla="*/ 0 h 2"/>
              <a:gd name="T10" fmla="*/ 0 w 2"/>
              <a:gd name="T11" fmla="*/ 0 h 2"/>
              <a:gd name="T12" fmla="*/ 0 w 2"/>
              <a:gd name="T13" fmla="*/ 0 h 2"/>
              <a:gd name="T14" fmla="*/ 0 w 2"/>
              <a:gd name="T15" fmla="*/ 5040313 h 2"/>
              <a:gd name="T16" fmla="*/ 0 w 2"/>
              <a:gd name="T17" fmla="*/ 5040313 h 2"/>
              <a:gd name="T18" fmla="*/ 0 w 2"/>
              <a:gd name="T19" fmla="*/ 5040313 h 2"/>
              <a:gd name="T20" fmla="*/ 5040313 w 2"/>
              <a:gd name="T21" fmla="*/ 5040313 h 2"/>
              <a:gd name="T22" fmla="*/ 5040313 w 2"/>
              <a:gd name="T23" fmla="*/ 5040313 h 2"/>
              <a:gd name="T24" fmla="*/ 5040313 w 2"/>
              <a:gd name="T25" fmla="*/ 0 h 2"/>
              <a:gd name="T26" fmla="*/ 5040313 w 2"/>
              <a:gd name="T27" fmla="*/ 0 h 2"/>
              <a:gd name="T28" fmla="*/ 5040313 w 2"/>
              <a:gd name="T29" fmla="*/ 0 h 2"/>
              <a:gd name="T30" fmla="*/ 0 w 2"/>
              <a:gd name="T31" fmla="*/ 5040313 h 2"/>
              <a:gd name="T32" fmla="*/ 5040313 w 2"/>
              <a:gd name="T33" fmla="*/ 5040313 h 2"/>
              <a:gd name="T34" fmla="*/ 5040313 w 2"/>
              <a:gd name="T35" fmla="*/ 0 h 2"/>
              <a:gd name="T36" fmla="*/ 0 w 2"/>
              <a:gd name="T37" fmla="*/ 5040313 h 2"/>
              <a:gd name="T38" fmla="*/ 5040313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0 w 2"/>
              <a:gd name="T55" fmla="*/ 5040313 h 2"/>
              <a:gd name="T56" fmla="*/ 0 w 2"/>
              <a:gd name="T57" fmla="*/ 5040313 h 2"/>
              <a:gd name="T58" fmla="*/ 5040313 w 2"/>
              <a:gd name="T59" fmla="*/ 5040313 h 2"/>
              <a:gd name="T60" fmla="*/ 5040313 w 2"/>
              <a:gd name="T61" fmla="*/ 5040313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50"/>
          <p:cNvSpPr>
            <a:spLocks/>
          </p:cNvSpPr>
          <p:nvPr/>
        </p:nvSpPr>
        <p:spPr bwMode="auto">
          <a:xfrm>
            <a:off x="684213" y="447675"/>
            <a:ext cx="1587" cy="3175"/>
          </a:xfrm>
          <a:custGeom>
            <a:avLst/>
            <a:gdLst>
              <a:gd name="T0" fmla="*/ 0 w 1587"/>
              <a:gd name="T1" fmla="*/ 5040313 h 2"/>
              <a:gd name="T2" fmla="*/ 0 w 1587"/>
              <a:gd name="T3" fmla="*/ 0 h 2"/>
              <a:gd name="T4" fmla="*/ 0 w 1587"/>
              <a:gd name="T5" fmla="*/ 5040313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52"/>
          <p:cNvSpPr>
            <a:spLocks/>
          </p:cNvSpPr>
          <p:nvPr/>
        </p:nvSpPr>
        <p:spPr bwMode="auto">
          <a:xfrm>
            <a:off x="684213" y="447675"/>
            <a:ext cx="3175" cy="3175"/>
          </a:xfrm>
          <a:custGeom>
            <a:avLst/>
            <a:gdLst>
              <a:gd name="T0" fmla="*/ 5040313 w 2"/>
              <a:gd name="T1" fmla="*/ 0 h 2"/>
              <a:gd name="T2" fmla="*/ 0 w 2"/>
              <a:gd name="T3" fmla="*/ 0 h 2"/>
              <a:gd name="T4" fmla="*/ 0 w 2"/>
              <a:gd name="T5" fmla="*/ 0 h 2"/>
              <a:gd name="T6" fmla="*/ 0 w 2"/>
              <a:gd name="T7" fmla="*/ 0 h 2"/>
              <a:gd name="T8" fmla="*/ 0 w 2"/>
              <a:gd name="T9" fmla="*/ 5040313 h 2"/>
              <a:gd name="T10" fmla="*/ 5040313 w 2"/>
              <a:gd name="T11" fmla="*/ 5040313 h 2"/>
              <a:gd name="T12" fmla="*/ 5040313 w 2"/>
              <a:gd name="T13" fmla="*/ 0 h 2"/>
              <a:gd name="T14" fmla="*/ 0 w 2"/>
              <a:gd name="T15" fmla="*/ 0 h 2"/>
              <a:gd name="T16" fmla="*/ 0 w 2"/>
              <a:gd name="T17" fmla="*/ 0 h 2"/>
              <a:gd name="T18" fmla="*/ 0 w 2"/>
              <a:gd name="T19" fmla="*/ 0 h 2"/>
              <a:gd name="T20" fmla="*/ 0 w 2"/>
              <a:gd name="T21" fmla="*/ 5040313 h 2"/>
              <a:gd name="T22" fmla="*/ 5040313 w 2"/>
              <a:gd name="T23" fmla="*/ 5040313 h 2"/>
              <a:gd name="T24" fmla="*/ 5040313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4"/>
          <p:cNvSpPr>
            <a:spLocks/>
          </p:cNvSpPr>
          <p:nvPr/>
        </p:nvSpPr>
        <p:spPr bwMode="auto">
          <a:xfrm>
            <a:off x="665163" y="434975"/>
            <a:ext cx="3175" cy="1588"/>
          </a:xfrm>
          <a:custGeom>
            <a:avLst/>
            <a:gdLst>
              <a:gd name="T0" fmla="*/ 5040313 w 2"/>
              <a:gd name="T1" fmla="*/ 0 h 1588"/>
              <a:gd name="T2" fmla="*/ 0 w 2"/>
              <a:gd name="T3" fmla="*/ 0 h 1588"/>
              <a:gd name="T4" fmla="*/ 5040313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6"/>
          <p:cNvSpPr>
            <a:spLocks/>
          </p:cNvSpPr>
          <p:nvPr/>
        </p:nvSpPr>
        <p:spPr bwMode="auto">
          <a:xfrm>
            <a:off x="665163" y="431800"/>
            <a:ext cx="3175" cy="3175"/>
          </a:xfrm>
          <a:custGeom>
            <a:avLst/>
            <a:gdLst>
              <a:gd name="T0" fmla="*/ 5040313 w 2"/>
              <a:gd name="T1" fmla="*/ 5040313 h 2"/>
              <a:gd name="T2" fmla="*/ 0 w 2"/>
              <a:gd name="T3" fmla="*/ 0 h 2"/>
              <a:gd name="T4" fmla="*/ 0 w 2"/>
              <a:gd name="T5" fmla="*/ 0 h 2"/>
              <a:gd name="T6" fmla="*/ 0 w 2"/>
              <a:gd name="T7" fmla="*/ 5040313 h 2"/>
              <a:gd name="T8" fmla="*/ 5040313 w 2"/>
              <a:gd name="T9" fmla="*/ 5040313 h 2"/>
              <a:gd name="T10" fmla="*/ 5040313 w 2"/>
              <a:gd name="T11" fmla="*/ 5040313 h 2"/>
              <a:gd name="T12" fmla="*/ 5040313 w 2"/>
              <a:gd name="T13" fmla="*/ 5040313 h 2"/>
              <a:gd name="T14" fmla="*/ 0 w 2"/>
              <a:gd name="T15" fmla="*/ 0 h 2"/>
              <a:gd name="T16" fmla="*/ 0 w 2"/>
              <a:gd name="T17" fmla="*/ 0 h 2"/>
              <a:gd name="T18" fmla="*/ 0 w 2"/>
              <a:gd name="T19" fmla="*/ 5040313 h 2"/>
              <a:gd name="T20" fmla="*/ 5040313 w 2"/>
              <a:gd name="T21" fmla="*/ 5040313 h 2"/>
              <a:gd name="T22" fmla="*/ 5040313 w 2"/>
              <a:gd name="T23" fmla="*/ 5040313 h 2"/>
              <a:gd name="T24" fmla="*/ 5040313 w 2"/>
              <a:gd name="T25" fmla="*/ 5040313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63"/>
          <p:cNvSpPr>
            <a:spLocks/>
          </p:cNvSpPr>
          <p:nvPr/>
        </p:nvSpPr>
        <p:spPr bwMode="auto">
          <a:xfrm>
            <a:off x="611188" y="415925"/>
            <a:ext cx="6350" cy="3175"/>
          </a:xfrm>
          <a:custGeom>
            <a:avLst/>
            <a:gdLst>
              <a:gd name="T0" fmla="*/ 5040313 w 4"/>
              <a:gd name="T1" fmla="*/ 5040313 h 2"/>
              <a:gd name="T2" fmla="*/ 5040313 w 4"/>
              <a:gd name="T3" fmla="*/ 5040313 h 2"/>
              <a:gd name="T4" fmla="*/ 10080625 w 4"/>
              <a:gd name="T5" fmla="*/ 5040313 h 2"/>
              <a:gd name="T6" fmla="*/ 10080625 w 4"/>
              <a:gd name="T7" fmla="*/ 0 h 2"/>
              <a:gd name="T8" fmla="*/ 10080625 w 4"/>
              <a:gd name="T9" fmla="*/ 0 h 2"/>
              <a:gd name="T10" fmla="*/ 5040313 w 4"/>
              <a:gd name="T11" fmla="*/ 0 h 2"/>
              <a:gd name="T12" fmla="*/ 5040313 w 4"/>
              <a:gd name="T13" fmla="*/ 0 h 2"/>
              <a:gd name="T14" fmla="*/ 0 w 4"/>
              <a:gd name="T15" fmla="*/ 5040313 h 2"/>
              <a:gd name="T16" fmla="*/ 5040313 w 4"/>
              <a:gd name="T17" fmla="*/ 5040313 h 2"/>
              <a:gd name="T18" fmla="*/ 5040313 w 4"/>
              <a:gd name="T19" fmla="*/ 0 h 2"/>
              <a:gd name="T20" fmla="*/ 10080625 w 4"/>
              <a:gd name="T21" fmla="*/ 5040313 h 2"/>
              <a:gd name="T22" fmla="*/ 10080625 w 4"/>
              <a:gd name="T23" fmla="*/ 0 h 2"/>
              <a:gd name="T24" fmla="*/ 10080625 w 4"/>
              <a:gd name="T25" fmla="*/ 0 h 2"/>
              <a:gd name="T26" fmla="*/ 5040313 w 4"/>
              <a:gd name="T27" fmla="*/ 0 h 2"/>
              <a:gd name="T28" fmla="*/ 5040313 w 4"/>
              <a:gd name="T29" fmla="*/ 0 h 2"/>
              <a:gd name="T30" fmla="*/ 0 w 4"/>
              <a:gd name="T31" fmla="*/ 0 h 2"/>
              <a:gd name="T32" fmla="*/ 5040313 w 4"/>
              <a:gd name="T33" fmla="*/ 5040313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72"/>
          <p:cNvSpPr>
            <a:spLocks/>
          </p:cNvSpPr>
          <p:nvPr/>
        </p:nvSpPr>
        <p:spPr bwMode="auto">
          <a:xfrm>
            <a:off x="582613" y="476250"/>
            <a:ext cx="3175" cy="3175"/>
          </a:xfrm>
          <a:custGeom>
            <a:avLst/>
            <a:gdLst>
              <a:gd name="T0" fmla="*/ 0 w 2"/>
              <a:gd name="T1" fmla="*/ 5040313 h 2"/>
              <a:gd name="T2" fmla="*/ 0 w 2"/>
              <a:gd name="T3" fmla="*/ 5040313 h 2"/>
              <a:gd name="T4" fmla="*/ 5040313 w 2"/>
              <a:gd name="T5" fmla="*/ 5040313 h 2"/>
              <a:gd name="T6" fmla="*/ 0 w 2"/>
              <a:gd name="T7" fmla="*/ 0 h 2"/>
              <a:gd name="T8" fmla="*/ 0 w 2"/>
              <a:gd name="T9" fmla="*/ 0 h 2"/>
              <a:gd name="T10" fmla="*/ 0 w 2"/>
              <a:gd name="T11" fmla="*/ 0 h 2"/>
              <a:gd name="T12" fmla="*/ 0 w 2"/>
              <a:gd name="T13" fmla="*/ 5040313 h 2"/>
              <a:gd name="T14" fmla="*/ 0 w 2"/>
              <a:gd name="T15" fmla="*/ 5040313 h 2"/>
              <a:gd name="T16" fmla="*/ 0 w 2"/>
              <a:gd name="T17" fmla="*/ 5040313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0 w 2"/>
              <a:gd name="T29" fmla="*/ 5040313 h 2"/>
              <a:gd name="T30" fmla="*/ 0 w 2"/>
              <a:gd name="T31" fmla="*/ 5040313 h 2"/>
              <a:gd name="T32" fmla="*/ 0 w 2"/>
              <a:gd name="T33" fmla="*/ 5040313 h 2"/>
              <a:gd name="T34" fmla="*/ 0 w 2"/>
              <a:gd name="T35" fmla="*/ 5040313 h 2"/>
              <a:gd name="T36" fmla="*/ 0 w 2"/>
              <a:gd name="T37" fmla="*/ 5040313 h 2"/>
              <a:gd name="T38" fmla="*/ 0 w 2"/>
              <a:gd name="T39" fmla="*/ 5040313 h 2"/>
              <a:gd name="T40" fmla="*/ 0 w 2"/>
              <a:gd name="T41" fmla="*/ 5040313 h 2"/>
              <a:gd name="T42" fmla="*/ 0 w 2"/>
              <a:gd name="T43" fmla="*/ 5040313 h 2"/>
              <a:gd name="T44" fmla="*/ 0 w 2"/>
              <a:gd name="T45" fmla="*/ 5040313 h 2"/>
              <a:gd name="T46" fmla="*/ 0 w 2"/>
              <a:gd name="T47" fmla="*/ 5040313 h 2"/>
              <a:gd name="T48" fmla="*/ 0 w 2"/>
              <a:gd name="T49" fmla="*/ 5040313 h 2"/>
              <a:gd name="T50" fmla="*/ 0 w 2"/>
              <a:gd name="T51" fmla="*/ 5040313 h 2"/>
              <a:gd name="T52" fmla="*/ 0 w 2"/>
              <a:gd name="T53" fmla="*/ 5040313 h 2"/>
              <a:gd name="T54" fmla="*/ 0 w 2"/>
              <a:gd name="T55" fmla="*/ 5040313 h 2"/>
              <a:gd name="T56" fmla="*/ 0 w 2"/>
              <a:gd name="T57" fmla="*/ 5040313 h 2"/>
              <a:gd name="T58" fmla="*/ 0 w 2"/>
              <a:gd name="T59" fmla="*/ 5040313 h 2"/>
              <a:gd name="T60" fmla="*/ 0 w 2"/>
              <a:gd name="T61" fmla="*/ 5040313 h 2"/>
              <a:gd name="T62" fmla="*/ 0 w 2"/>
              <a:gd name="T63" fmla="*/ 5040313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77"/>
          <p:cNvSpPr>
            <a:spLocks/>
          </p:cNvSpPr>
          <p:nvPr/>
        </p:nvSpPr>
        <p:spPr bwMode="auto">
          <a:xfrm>
            <a:off x="557213" y="534988"/>
            <a:ext cx="3175" cy="3175"/>
          </a:xfrm>
          <a:custGeom>
            <a:avLst/>
            <a:gdLst>
              <a:gd name="T0" fmla="*/ 0 w 2"/>
              <a:gd name="T1" fmla="*/ 5040313 h 2"/>
              <a:gd name="T2" fmla="*/ 5040313 w 2"/>
              <a:gd name="T3" fmla="*/ 5040313 h 2"/>
              <a:gd name="T4" fmla="*/ 5040313 w 2"/>
              <a:gd name="T5" fmla="*/ 5040313 h 2"/>
              <a:gd name="T6" fmla="*/ 5040313 w 2"/>
              <a:gd name="T7" fmla="*/ 0 h 2"/>
              <a:gd name="T8" fmla="*/ 5040313 w 2"/>
              <a:gd name="T9" fmla="*/ 0 h 2"/>
              <a:gd name="T10" fmla="*/ 5040313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5040313 h 2"/>
              <a:gd name="T40" fmla="*/ 0 w 2"/>
              <a:gd name="T41" fmla="*/ 5040313 h 2"/>
              <a:gd name="T42" fmla="*/ 5040313 w 2"/>
              <a:gd name="T43" fmla="*/ 5040313 h 2"/>
              <a:gd name="T44" fmla="*/ 5040313 w 2"/>
              <a:gd name="T45" fmla="*/ 0 h 2"/>
              <a:gd name="T46" fmla="*/ 5040313 w 2"/>
              <a:gd name="T47" fmla="*/ 0 h 2"/>
              <a:gd name="T48" fmla="*/ 5040313 w 2"/>
              <a:gd name="T49" fmla="*/ 0 h 2"/>
              <a:gd name="T50" fmla="*/ 5040313 w 2"/>
              <a:gd name="T51" fmla="*/ 0 h 2"/>
              <a:gd name="T52" fmla="*/ 5040313 w 2"/>
              <a:gd name="T53" fmla="*/ 0 h 2"/>
              <a:gd name="T54" fmla="*/ 5040313 w 2"/>
              <a:gd name="T55" fmla="*/ 0 h 2"/>
              <a:gd name="T56" fmla="*/ 5040313 w 2"/>
              <a:gd name="T57" fmla="*/ 0 h 2"/>
              <a:gd name="T58" fmla="*/ 5040313 w 2"/>
              <a:gd name="T59" fmla="*/ 0 h 2"/>
              <a:gd name="T60" fmla="*/ 5040313 w 2"/>
              <a:gd name="T61" fmla="*/ 0 h 2"/>
              <a:gd name="T62" fmla="*/ 5040313 w 2"/>
              <a:gd name="T63" fmla="*/ 0 h 2"/>
              <a:gd name="T64" fmla="*/ 5040313 w 2"/>
              <a:gd name="T65" fmla="*/ 0 h 2"/>
              <a:gd name="T66" fmla="*/ 5040313 w 2"/>
              <a:gd name="T67" fmla="*/ 5040313 h 2"/>
              <a:gd name="T68" fmla="*/ 5040313 w 2"/>
              <a:gd name="T69" fmla="*/ 0 h 2"/>
              <a:gd name="T70" fmla="*/ 5040313 w 2"/>
              <a:gd name="T71" fmla="*/ 0 h 2"/>
              <a:gd name="T72" fmla="*/ 0 w 2"/>
              <a:gd name="T73" fmla="*/ 0 h 2"/>
              <a:gd name="T74" fmla="*/ 0 w 2"/>
              <a:gd name="T75" fmla="*/ 0 h 2"/>
              <a:gd name="T76" fmla="*/ 0 w 2"/>
              <a:gd name="T77" fmla="*/ 5040313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80"/>
          <p:cNvSpPr>
            <a:spLocks/>
          </p:cNvSpPr>
          <p:nvPr/>
        </p:nvSpPr>
        <p:spPr bwMode="auto">
          <a:xfrm>
            <a:off x="560388" y="530225"/>
            <a:ext cx="3175" cy="4763"/>
          </a:xfrm>
          <a:custGeom>
            <a:avLst/>
            <a:gdLst>
              <a:gd name="T0" fmla="*/ 0 w 2"/>
              <a:gd name="T1" fmla="*/ 7562056 h 3"/>
              <a:gd name="T2" fmla="*/ 0 w 2"/>
              <a:gd name="T3" fmla="*/ 7562056 h 3"/>
              <a:gd name="T4" fmla="*/ 5040313 w 2"/>
              <a:gd name="T5" fmla="*/ 7562056 h 3"/>
              <a:gd name="T6" fmla="*/ 5040313 w 2"/>
              <a:gd name="T7" fmla="*/ 7562056 h 3"/>
              <a:gd name="T8" fmla="*/ 0 w 2"/>
              <a:gd name="T9" fmla="*/ 0 h 3"/>
              <a:gd name="T10" fmla="*/ 0 w 2"/>
              <a:gd name="T11" fmla="*/ 0 h 3"/>
              <a:gd name="T12" fmla="*/ 0 w 2"/>
              <a:gd name="T13" fmla="*/ 0 h 3"/>
              <a:gd name="T14" fmla="*/ 0 w 2"/>
              <a:gd name="T15" fmla="*/ 7562056 h 3"/>
              <a:gd name="T16" fmla="*/ 0 w 2"/>
              <a:gd name="T17" fmla="*/ 7562056 h 3"/>
              <a:gd name="T18" fmla="*/ 0 w 2"/>
              <a:gd name="T19" fmla="*/ 7562056 h 3"/>
              <a:gd name="T20" fmla="*/ 0 w 2"/>
              <a:gd name="T21" fmla="*/ 7562056 h 3"/>
              <a:gd name="T22" fmla="*/ 0 w 2"/>
              <a:gd name="T23" fmla="*/ 0 h 3"/>
              <a:gd name="T24" fmla="*/ 0 w 2"/>
              <a:gd name="T25" fmla="*/ 7562056 h 3"/>
              <a:gd name="T26" fmla="*/ 0 w 2"/>
              <a:gd name="T27" fmla="*/ 7562056 h 3"/>
              <a:gd name="T28" fmla="*/ 0 w 2"/>
              <a:gd name="T29" fmla="*/ 7562056 h 3"/>
              <a:gd name="T30" fmla="*/ 0 w 2"/>
              <a:gd name="T31" fmla="*/ 7562056 h 3"/>
              <a:gd name="T32" fmla="*/ 0 w 2"/>
              <a:gd name="T33" fmla="*/ 7562056 h 3"/>
              <a:gd name="T34" fmla="*/ 0 w 2"/>
              <a:gd name="T35" fmla="*/ 7562056 h 3"/>
              <a:gd name="T36" fmla="*/ 0 w 2"/>
              <a:gd name="T37" fmla="*/ 7562056 h 3"/>
              <a:gd name="T38" fmla="*/ 0 w 2"/>
              <a:gd name="T39" fmla="*/ 7562056 h 3"/>
              <a:gd name="T40" fmla="*/ 0 w 2"/>
              <a:gd name="T41" fmla="*/ 7562056 h 3"/>
              <a:gd name="T42" fmla="*/ 0 w 2"/>
              <a:gd name="T43" fmla="*/ 7562056 h 3"/>
              <a:gd name="T44" fmla="*/ 0 w 2"/>
              <a:gd name="T45" fmla="*/ 7562056 h 3"/>
              <a:gd name="T46" fmla="*/ 0 w 2"/>
              <a:gd name="T47" fmla="*/ 7562056 h 3"/>
              <a:gd name="T48" fmla="*/ 0 w 2"/>
              <a:gd name="T49" fmla="*/ 7562056 h 3"/>
              <a:gd name="T50" fmla="*/ 0 w 2"/>
              <a:gd name="T51" fmla="*/ 7562056 h 3"/>
              <a:gd name="T52" fmla="*/ 0 w 2"/>
              <a:gd name="T53" fmla="*/ 756205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1210"/>
          <p:cNvSpPr>
            <a:spLocks/>
          </p:cNvSpPr>
          <p:nvPr/>
        </p:nvSpPr>
        <p:spPr bwMode="auto">
          <a:xfrm>
            <a:off x="595313" y="557213"/>
            <a:ext cx="3175" cy="3175"/>
          </a:xfrm>
          <a:custGeom>
            <a:avLst/>
            <a:gdLst>
              <a:gd name="T0" fmla="*/ 0 w 2"/>
              <a:gd name="T1" fmla="*/ 5040313 h 2"/>
              <a:gd name="T2" fmla="*/ 0 w 2"/>
              <a:gd name="T3" fmla="*/ 5040313 h 2"/>
              <a:gd name="T4" fmla="*/ 5040313 w 2"/>
              <a:gd name="T5" fmla="*/ 5040313 h 2"/>
              <a:gd name="T6" fmla="*/ 5040313 w 2"/>
              <a:gd name="T7" fmla="*/ 0 h 2"/>
              <a:gd name="T8" fmla="*/ 5040313 w 2"/>
              <a:gd name="T9" fmla="*/ 0 h 2"/>
              <a:gd name="T10" fmla="*/ 0 w 2"/>
              <a:gd name="T11" fmla="*/ 0 h 2"/>
              <a:gd name="T12" fmla="*/ 0 w 2"/>
              <a:gd name="T13" fmla="*/ 0 h 2"/>
              <a:gd name="T14" fmla="*/ 0 w 2"/>
              <a:gd name="T15" fmla="*/ 0 h 2"/>
              <a:gd name="T16" fmla="*/ 0 w 2"/>
              <a:gd name="T17" fmla="*/ 5040313 h 2"/>
              <a:gd name="T18" fmla="*/ 0 w 2"/>
              <a:gd name="T19" fmla="*/ 5040313 h 2"/>
              <a:gd name="T20" fmla="*/ 5040313 w 2"/>
              <a:gd name="T21" fmla="*/ 5040313 h 2"/>
              <a:gd name="T22" fmla="*/ 5040313 w 2"/>
              <a:gd name="T23" fmla="*/ 0 h 2"/>
              <a:gd name="T24" fmla="*/ 5040313 w 2"/>
              <a:gd name="T25" fmla="*/ 0 h 2"/>
              <a:gd name="T26" fmla="*/ 0 w 2"/>
              <a:gd name="T27" fmla="*/ 0 h 2"/>
              <a:gd name="T28" fmla="*/ 0 w 2"/>
              <a:gd name="T29" fmla="*/ 0 h 2"/>
              <a:gd name="T30" fmla="*/ 0 w 2"/>
              <a:gd name="T31" fmla="*/ 0 h 2"/>
              <a:gd name="T32" fmla="*/ 0 w 2"/>
              <a:gd name="T33" fmla="*/ 5040313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214"/>
          <p:cNvSpPr>
            <a:spLocks/>
          </p:cNvSpPr>
          <p:nvPr/>
        </p:nvSpPr>
        <p:spPr bwMode="auto">
          <a:xfrm>
            <a:off x="595313" y="557213"/>
            <a:ext cx="3175" cy="3175"/>
          </a:xfrm>
          <a:custGeom>
            <a:avLst/>
            <a:gdLst>
              <a:gd name="T0" fmla="*/ 0 w 2"/>
              <a:gd name="T1" fmla="*/ 5040313 h 2"/>
              <a:gd name="T2" fmla="*/ 5040313 w 2"/>
              <a:gd name="T3" fmla="*/ 5040313 h 2"/>
              <a:gd name="T4" fmla="*/ 0 w 2"/>
              <a:gd name="T5" fmla="*/ 0 h 2"/>
              <a:gd name="T6" fmla="*/ 0 w 2"/>
              <a:gd name="T7" fmla="*/ 5040313 h 2"/>
              <a:gd name="T8" fmla="*/ 0 w 2"/>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29"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1221"/>
          <p:cNvSpPr>
            <a:spLocks/>
          </p:cNvSpPr>
          <p:nvPr/>
        </p:nvSpPr>
        <p:spPr bwMode="auto">
          <a:xfrm>
            <a:off x="731838" y="541338"/>
            <a:ext cx="3175" cy="3175"/>
          </a:xfrm>
          <a:custGeom>
            <a:avLst/>
            <a:gdLst>
              <a:gd name="T0" fmla="*/ 5040313 w 2"/>
              <a:gd name="T1" fmla="*/ 0 h 2"/>
              <a:gd name="T2" fmla="*/ 5040313 w 2"/>
              <a:gd name="T3" fmla="*/ 0 h 2"/>
              <a:gd name="T4" fmla="*/ 5040313 w 2"/>
              <a:gd name="T5" fmla="*/ 0 h 2"/>
              <a:gd name="T6" fmla="*/ 0 w 2"/>
              <a:gd name="T7" fmla="*/ 0 h 2"/>
              <a:gd name="T8" fmla="*/ 0 w 2"/>
              <a:gd name="T9" fmla="*/ 0 h 2"/>
              <a:gd name="T10" fmla="*/ 0 w 2"/>
              <a:gd name="T11" fmla="*/ 5040313 h 2"/>
              <a:gd name="T12" fmla="*/ 5040313 w 2"/>
              <a:gd name="T13" fmla="*/ 0 h 2"/>
              <a:gd name="T14" fmla="*/ 5040313 w 2"/>
              <a:gd name="T15" fmla="*/ 0 h 2"/>
              <a:gd name="T16" fmla="*/ 5040313 w 2"/>
              <a:gd name="T17" fmla="*/ 0 h 2"/>
              <a:gd name="T18" fmla="*/ 0 w 2"/>
              <a:gd name="T19" fmla="*/ 0 h 2"/>
              <a:gd name="T20" fmla="*/ 0 w 2"/>
              <a:gd name="T21" fmla="*/ 0 h 2"/>
              <a:gd name="T22" fmla="*/ 0 w 2"/>
              <a:gd name="T23" fmla="*/ 5040313 h 2"/>
              <a:gd name="T24" fmla="*/ 5040313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34"/>
          <p:cNvSpPr>
            <a:spLocks/>
          </p:cNvSpPr>
          <p:nvPr/>
        </p:nvSpPr>
        <p:spPr bwMode="auto">
          <a:xfrm>
            <a:off x="722313" y="550863"/>
            <a:ext cx="3175" cy="1587"/>
          </a:xfrm>
          <a:custGeom>
            <a:avLst/>
            <a:gdLst>
              <a:gd name="T0" fmla="*/ 0 w 2"/>
              <a:gd name="T1" fmla="*/ 0 h 1587"/>
              <a:gd name="T2" fmla="*/ 0 w 2"/>
              <a:gd name="T3" fmla="*/ 0 h 1587"/>
              <a:gd name="T4" fmla="*/ 5040313 w 2"/>
              <a:gd name="T5" fmla="*/ 0 h 1587"/>
              <a:gd name="T6" fmla="*/ 5040313 w 2"/>
              <a:gd name="T7" fmla="*/ 0 h 1587"/>
              <a:gd name="T8" fmla="*/ 5040313 w 2"/>
              <a:gd name="T9" fmla="*/ 0 h 1587"/>
              <a:gd name="T10" fmla="*/ 5040313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5040313 w 2"/>
              <a:gd name="T25" fmla="*/ 0 h 1587"/>
              <a:gd name="T26" fmla="*/ 5040313 w 2"/>
              <a:gd name="T27" fmla="*/ 0 h 1587"/>
              <a:gd name="T28" fmla="*/ 5040313 w 2"/>
              <a:gd name="T29" fmla="*/ 0 h 1587"/>
              <a:gd name="T30" fmla="*/ 0 w 2"/>
              <a:gd name="T31" fmla="*/ 0 h 1587"/>
              <a:gd name="T32" fmla="*/ 0 w 2"/>
              <a:gd name="T33" fmla="*/ 0 h 1587"/>
              <a:gd name="T34" fmla="*/ 5040313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1240"/>
          <p:cNvSpPr>
            <a:spLocks/>
          </p:cNvSpPr>
          <p:nvPr/>
        </p:nvSpPr>
        <p:spPr bwMode="auto">
          <a:xfrm>
            <a:off x="728663" y="541338"/>
            <a:ext cx="1587" cy="3175"/>
          </a:xfrm>
          <a:custGeom>
            <a:avLst/>
            <a:gdLst>
              <a:gd name="T0" fmla="*/ 0 w 1587"/>
              <a:gd name="T1" fmla="*/ 5040313 h 2"/>
              <a:gd name="T2" fmla="*/ 0 w 1587"/>
              <a:gd name="T3" fmla="*/ 5040313 h 2"/>
              <a:gd name="T4" fmla="*/ 0 w 1587"/>
              <a:gd name="T5" fmla="*/ 0 h 2"/>
              <a:gd name="T6" fmla="*/ 0 w 1587"/>
              <a:gd name="T7" fmla="*/ 5040313 h 2"/>
              <a:gd name="T8" fmla="*/ 0 w 1587"/>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243"/>
          <p:cNvSpPr>
            <a:spLocks/>
          </p:cNvSpPr>
          <p:nvPr/>
        </p:nvSpPr>
        <p:spPr bwMode="auto">
          <a:xfrm>
            <a:off x="728663" y="538163"/>
            <a:ext cx="3175" cy="3175"/>
          </a:xfrm>
          <a:custGeom>
            <a:avLst/>
            <a:gdLst>
              <a:gd name="T0" fmla="*/ 5040313 w 2"/>
              <a:gd name="T1" fmla="*/ 5040313 h 2"/>
              <a:gd name="T2" fmla="*/ 5040313 w 2"/>
              <a:gd name="T3" fmla="*/ 5040313 h 2"/>
              <a:gd name="T4" fmla="*/ 5040313 w 2"/>
              <a:gd name="T5" fmla="*/ 5040313 h 2"/>
              <a:gd name="T6" fmla="*/ 5040313 w 2"/>
              <a:gd name="T7" fmla="*/ 5040313 h 2"/>
              <a:gd name="T8" fmla="*/ 0 w 2"/>
              <a:gd name="T9" fmla="*/ 5040313 h 2"/>
              <a:gd name="T10" fmla="*/ 0 w 2"/>
              <a:gd name="T11" fmla="*/ 5040313 h 2"/>
              <a:gd name="T12" fmla="*/ 5040313 w 2"/>
              <a:gd name="T13" fmla="*/ 5040313 h 2"/>
              <a:gd name="T14" fmla="*/ 0 w 2"/>
              <a:gd name="T15" fmla="*/ 5040313 h 2"/>
              <a:gd name="T16" fmla="*/ 0 w 2"/>
              <a:gd name="T17" fmla="*/ 5040313 h 2"/>
              <a:gd name="T18" fmla="*/ 0 w 2"/>
              <a:gd name="T19" fmla="*/ 5040313 h 2"/>
              <a:gd name="T20" fmla="*/ 0 w 2"/>
              <a:gd name="T21" fmla="*/ 5040313 h 2"/>
              <a:gd name="T22" fmla="*/ 0 w 2"/>
              <a:gd name="T23" fmla="*/ 5040313 h 2"/>
              <a:gd name="T24" fmla="*/ 0 w 2"/>
              <a:gd name="T25" fmla="*/ 5040313 h 2"/>
              <a:gd name="T26" fmla="*/ 0 w 2"/>
              <a:gd name="T27" fmla="*/ 5040313 h 2"/>
              <a:gd name="T28" fmla="*/ 0 w 2"/>
              <a:gd name="T29" fmla="*/ 5040313 h 2"/>
              <a:gd name="T30" fmla="*/ 0 w 2"/>
              <a:gd name="T31" fmla="*/ 5040313 h 2"/>
              <a:gd name="T32" fmla="*/ 0 w 2"/>
              <a:gd name="T33" fmla="*/ 5040313 h 2"/>
              <a:gd name="T34" fmla="*/ 0 w 2"/>
              <a:gd name="T35" fmla="*/ 5040313 h 2"/>
              <a:gd name="T36" fmla="*/ 0 w 2"/>
              <a:gd name="T37" fmla="*/ 5040313 h 2"/>
              <a:gd name="T38" fmla="*/ 5040313 w 2"/>
              <a:gd name="T39" fmla="*/ 5040313 h 2"/>
              <a:gd name="T40" fmla="*/ 5040313 w 2"/>
              <a:gd name="T41" fmla="*/ 5040313 h 2"/>
              <a:gd name="T42" fmla="*/ 5040313 w 2"/>
              <a:gd name="T43" fmla="*/ 5040313 h 2"/>
              <a:gd name="T44" fmla="*/ 5040313 w 2"/>
              <a:gd name="T45" fmla="*/ 5040313 h 2"/>
              <a:gd name="T46" fmla="*/ 5040313 w 2"/>
              <a:gd name="T47" fmla="*/ 5040313 h 2"/>
              <a:gd name="T48" fmla="*/ 0 w 2"/>
              <a:gd name="T49" fmla="*/ 0 h 2"/>
              <a:gd name="T50" fmla="*/ 0 w 2"/>
              <a:gd name="T51" fmla="*/ 5040313 h 2"/>
              <a:gd name="T52" fmla="*/ 0 w 2"/>
              <a:gd name="T53" fmla="*/ 5040313 h 2"/>
              <a:gd name="T54" fmla="*/ 0 w 2"/>
              <a:gd name="T55" fmla="*/ 5040313 h 2"/>
              <a:gd name="T56" fmla="*/ 5040313 w 2"/>
              <a:gd name="T57" fmla="*/ 5040313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46"/>
          <p:cNvSpPr>
            <a:spLocks/>
          </p:cNvSpPr>
          <p:nvPr/>
        </p:nvSpPr>
        <p:spPr bwMode="auto">
          <a:xfrm>
            <a:off x="725488" y="547688"/>
            <a:ext cx="3175" cy="3175"/>
          </a:xfrm>
          <a:custGeom>
            <a:avLst/>
            <a:gdLst>
              <a:gd name="T0" fmla="*/ 0 w 2"/>
              <a:gd name="T1" fmla="*/ 5040313 h 2"/>
              <a:gd name="T2" fmla="*/ 0 w 2"/>
              <a:gd name="T3" fmla="*/ 5040313 h 2"/>
              <a:gd name="T4" fmla="*/ 5040313 w 2"/>
              <a:gd name="T5" fmla="*/ 0 h 2"/>
              <a:gd name="T6" fmla="*/ 5040313 w 2"/>
              <a:gd name="T7" fmla="*/ 0 h 2"/>
              <a:gd name="T8" fmla="*/ 0 w 2"/>
              <a:gd name="T9" fmla="*/ 0 h 2"/>
              <a:gd name="T10" fmla="*/ 0 w 2"/>
              <a:gd name="T11" fmla="*/ 0 h 2"/>
              <a:gd name="T12" fmla="*/ 0 w 2"/>
              <a:gd name="T13" fmla="*/ 5040313 h 2"/>
              <a:gd name="T14" fmla="*/ 0 w 2"/>
              <a:gd name="T15" fmla="*/ 5040313 h 2"/>
              <a:gd name="T16" fmla="*/ 5040313 w 2"/>
              <a:gd name="T17" fmla="*/ 0 h 2"/>
              <a:gd name="T18" fmla="*/ 5040313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5040313 h 2"/>
              <a:gd name="T48" fmla="*/ 0 w 2"/>
              <a:gd name="T49" fmla="*/ 5040313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50"/>
          <p:cNvSpPr>
            <a:spLocks/>
          </p:cNvSpPr>
          <p:nvPr/>
        </p:nvSpPr>
        <p:spPr bwMode="auto">
          <a:xfrm>
            <a:off x="731838" y="530225"/>
            <a:ext cx="3175" cy="1588"/>
          </a:xfrm>
          <a:custGeom>
            <a:avLst/>
            <a:gdLst>
              <a:gd name="T0" fmla="*/ 5040313 w 2"/>
              <a:gd name="T1" fmla="*/ 0 h 1588"/>
              <a:gd name="T2" fmla="*/ 0 w 2"/>
              <a:gd name="T3" fmla="*/ 0 h 1588"/>
              <a:gd name="T4" fmla="*/ 5040313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52"/>
          <p:cNvSpPr>
            <a:spLocks/>
          </p:cNvSpPr>
          <p:nvPr/>
        </p:nvSpPr>
        <p:spPr bwMode="auto">
          <a:xfrm>
            <a:off x="731838" y="527050"/>
            <a:ext cx="3175" cy="7938"/>
          </a:xfrm>
          <a:custGeom>
            <a:avLst/>
            <a:gdLst>
              <a:gd name="T0" fmla="*/ 5040313 w 2"/>
              <a:gd name="T1" fmla="*/ 5040630 h 5"/>
              <a:gd name="T2" fmla="*/ 5040313 w 2"/>
              <a:gd name="T3" fmla="*/ 5040630 h 5"/>
              <a:gd name="T4" fmla="*/ 0 w 2"/>
              <a:gd name="T5" fmla="*/ 0 h 5"/>
              <a:gd name="T6" fmla="*/ 0 w 2"/>
              <a:gd name="T7" fmla="*/ 5040630 h 5"/>
              <a:gd name="T8" fmla="*/ 0 w 2"/>
              <a:gd name="T9" fmla="*/ 5040630 h 5"/>
              <a:gd name="T10" fmla="*/ 5040313 w 2"/>
              <a:gd name="T11" fmla="*/ 12602369 h 5"/>
              <a:gd name="T12" fmla="*/ 5040313 w 2"/>
              <a:gd name="T13" fmla="*/ 5040630 h 5"/>
              <a:gd name="T14" fmla="*/ 5040313 w 2"/>
              <a:gd name="T15" fmla="*/ 5040630 h 5"/>
              <a:gd name="T16" fmla="*/ 0 w 2"/>
              <a:gd name="T17" fmla="*/ 0 h 5"/>
              <a:gd name="T18" fmla="*/ 0 w 2"/>
              <a:gd name="T19" fmla="*/ 5040630 h 5"/>
              <a:gd name="T20" fmla="*/ 0 w 2"/>
              <a:gd name="T21" fmla="*/ 5040630 h 5"/>
              <a:gd name="T22" fmla="*/ 5040313 w 2"/>
              <a:gd name="T23" fmla="*/ 12602369 h 5"/>
              <a:gd name="T24" fmla="*/ 5040313 w 2"/>
              <a:gd name="T25" fmla="*/ 5040630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55"/>
          <p:cNvSpPr>
            <a:spLocks/>
          </p:cNvSpPr>
          <p:nvPr/>
        </p:nvSpPr>
        <p:spPr bwMode="auto">
          <a:xfrm>
            <a:off x="712788" y="550863"/>
            <a:ext cx="3175" cy="1587"/>
          </a:xfrm>
          <a:custGeom>
            <a:avLst/>
            <a:gdLst>
              <a:gd name="T0" fmla="*/ 0 w 2"/>
              <a:gd name="T1" fmla="*/ 0 h 1587"/>
              <a:gd name="T2" fmla="*/ 5040313 w 2"/>
              <a:gd name="T3" fmla="*/ 0 h 1587"/>
              <a:gd name="T4" fmla="*/ 5040313 w 2"/>
              <a:gd name="T5" fmla="*/ 0 h 1587"/>
              <a:gd name="T6" fmla="*/ 5040313 w 2"/>
              <a:gd name="T7" fmla="*/ 0 h 1587"/>
              <a:gd name="T8" fmla="*/ 5040313 w 2"/>
              <a:gd name="T9" fmla="*/ 0 h 1587"/>
              <a:gd name="T10" fmla="*/ 0 w 2"/>
              <a:gd name="T11" fmla="*/ 0 h 1587"/>
              <a:gd name="T12" fmla="*/ 0 w 2"/>
              <a:gd name="T13" fmla="*/ 0 h 1587"/>
              <a:gd name="T14" fmla="*/ 0 w 2"/>
              <a:gd name="T15" fmla="*/ 0 h 1587"/>
              <a:gd name="T16" fmla="*/ 0 w 2"/>
              <a:gd name="T17" fmla="*/ 0 h 1587"/>
              <a:gd name="T18" fmla="*/ 5040313 w 2"/>
              <a:gd name="T19" fmla="*/ 0 h 1587"/>
              <a:gd name="T20" fmla="*/ 5040313 w 2"/>
              <a:gd name="T21" fmla="*/ 0 h 1587"/>
              <a:gd name="T22" fmla="*/ 5040313 w 2"/>
              <a:gd name="T23" fmla="*/ 0 h 1587"/>
              <a:gd name="T24" fmla="*/ 5040313 w 2"/>
              <a:gd name="T25" fmla="*/ 0 h 1587"/>
              <a:gd name="T26" fmla="*/ 5040313 w 2"/>
              <a:gd name="T27" fmla="*/ 0 h 1587"/>
              <a:gd name="T28" fmla="*/ 5040313 w 2"/>
              <a:gd name="T29" fmla="*/ 0 h 1587"/>
              <a:gd name="T30" fmla="*/ 5040313 w 2"/>
              <a:gd name="T31" fmla="*/ 0 h 1587"/>
              <a:gd name="T32" fmla="*/ 5040313 w 2"/>
              <a:gd name="T33" fmla="*/ 0 h 1587"/>
              <a:gd name="T34" fmla="*/ 5040313 w 2"/>
              <a:gd name="T35" fmla="*/ 0 h 1587"/>
              <a:gd name="T36" fmla="*/ 5040313 w 2"/>
              <a:gd name="T37" fmla="*/ 0 h 1587"/>
              <a:gd name="T38" fmla="*/ 5040313 w 2"/>
              <a:gd name="T39" fmla="*/ 0 h 1587"/>
              <a:gd name="T40" fmla="*/ 5040313 w 2"/>
              <a:gd name="T41" fmla="*/ 0 h 1587"/>
              <a:gd name="T42" fmla="*/ 5040313 w 2"/>
              <a:gd name="T43" fmla="*/ 0 h 1587"/>
              <a:gd name="T44" fmla="*/ 5040313 w 2"/>
              <a:gd name="T45" fmla="*/ 0 h 1587"/>
              <a:gd name="T46" fmla="*/ 5040313 w 2"/>
              <a:gd name="T47" fmla="*/ 0 h 1587"/>
              <a:gd name="T48" fmla="*/ 5040313 w 2"/>
              <a:gd name="T49" fmla="*/ 0 h 1587"/>
              <a:gd name="T50" fmla="*/ 5040313 w 2"/>
              <a:gd name="T51" fmla="*/ 0 h 1587"/>
              <a:gd name="T52" fmla="*/ 5040313 w 2"/>
              <a:gd name="T53" fmla="*/ 0 h 1587"/>
              <a:gd name="T54" fmla="*/ 5040313 w 2"/>
              <a:gd name="T55" fmla="*/ 0 h 1587"/>
              <a:gd name="T56" fmla="*/ 5040313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2"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1269"/>
          <p:cNvSpPr>
            <a:spLocks/>
          </p:cNvSpPr>
          <p:nvPr/>
        </p:nvSpPr>
        <p:spPr bwMode="auto">
          <a:xfrm>
            <a:off x="728663" y="530225"/>
            <a:ext cx="3175" cy="4763"/>
          </a:xfrm>
          <a:custGeom>
            <a:avLst/>
            <a:gdLst>
              <a:gd name="T0" fmla="*/ 0 w 2"/>
              <a:gd name="T1" fmla="*/ 7562056 h 3"/>
              <a:gd name="T2" fmla="*/ 5040313 w 2"/>
              <a:gd name="T3" fmla="*/ 0 h 3"/>
              <a:gd name="T4" fmla="*/ 5040313 w 2"/>
              <a:gd name="T5" fmla="*/ 0 h 3"/>
              <a:gd name="T6" fmla="*/ 5040313 w 2"/>
              <a:gd name="T7" fmla="*/ 0 h 3"/>
              <a:gd name="T8" fmla="*/ 5040313 w 2"/>
              <a:gd name="T9" fmla="*/ 0 h 3"/>
              <a:gd name="T10" fmla="*/ 0 w 2"/>
              <a:gd name="T11" fmla="*/ 0 h 3"/>
              <a:gd name="T12" fmla="*/ 0 w 2"/>
              <a:gd name="T13" fmla="*/ 0 h 3"/>
              <a:gd name="T14" fmla="*/ 0 w 2"/>
              <a:gd name="T15" fmla="*/ 7562056 h 3"/>
              <a:gd name="T16" fmla="*/ 0 w 2"/>
              <a:gd name="T17" fmla="*/ 7562056 h 3"/>
              <a:gd name="T18" fmla="*/ 5040313 w 2"/>
              <a:gd name="T19" fmla="*/ 0 h 3"/>
              <a:gd name="T20" fmla="*/ 5040313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7562056 h 3"/>
              <a:gd name="T40" fmla="*/ 0 w 2"/>
              <a:gd name="T41" fmla="*/ 756205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8"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9"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Freeform 1277"/>
          <p:cNvSpPr>
            <a:spLocks/>
          </p:cNvSpPr>
          <p:nvPr/>
        </p:nvSpPr>
        <p:spPr bwMode="auto">
          <a:xfrm>
            <a:off x="728663" y="523875"/>
            <a:ext cx="1587" cy="3175"/>
          </a:xfrm>
          <a:custGeom>
            <a:avLst/>
            <a:gdLst>
              <a:gd name="T0" fmla="*/ 0 w 1587"/>
              <a:gd name="T1" fmla="*/ 5040313 h 2"/>
              <a:gd name="T2" fmla="*/ 0 w 1587"/>
              <a:gd name="T3" fmla="*/ 5040313 h 2"/>
              <a:gd name="T4" fmla="*/ 0 w 1587"/>
              <a:gd name="T5" fmla="*/ 0 h 2"/>
              <a:gd name="T6" fmla="*/ 0 w 1587"/>
              <a:gd name="T7" fmla="*/ 5040313 h 2"/>
              <a:gd name="T8" fmla="*/ 0 w 1587"/>
              <a:gd name="T9" fmla="*/ 5040313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Freeform 1287"/>
          <p:cNvSpPr>
            <a:spLocks/>
          </p:cNvSpPr>
          <p:nvPr/>
        </p:nvSpPr>
        <p:spPr bwMode="auto">
          <a:xfrm>
            <a:off x="719138" y="514350"/>
            <a:ext cx="3175" cy="3175"/>
          </a:xfrm>
          <a:custGeom>
            <a:avLst/>
            <a:gdLst>
              <a:gd name="T0" fmla="*/ 0 w 2"/>
              <a:gd name="T1" fmla="*/ 0 h 2"/>
              <a:gd name="T2" fmla="*/ 0 w 2"/>
              <a:gd name="T3" fmla="*/ 5040313 h 2"/>
              <a:gd name="T4" fmla="*/ 5040313 w 2"/>
              <a:gd name="T5" fmla="*/ 5040313 h 2"/>
              <a:gd name="T6" fmla="*/ 5040313 w 2"/>
              <a:gd name="T7" fmla="*/ 5040313 h 2"/>
              <a:gd name="T8" fmla="*/ 5040313 w 2"/>
              <a:gd name="T9" fmla="*/ 5040313 h 2"/>
              <a:gd name="T10" fmla="*/ 5040313 w 2"/>
              <a:gd name="T11" fmla="*/ 0 h 2"/>
              <a:gd name="T12" fmla="*/ 0 w 2"/>
              <a:gd name="T13" fmla="*/ 0 h 2"/>
              <a:gd name="T14" fmla="*/ 0 w 2"/>
              <a:gd name="T15" fmla="*/ 0 h 2"/>
              <a:gd name="T16" fmla="*/ 0 w 2"/>
              <a:gd name="T17" fmla="*/ 5040313 h 2"/>
              <a:gd name="T18" fmla="*/ 0 w 2"/>
              <a:gd name="T19" fmla="*/ 5040313 h 2"/>
              <a:gd name="T20" fmla="*/ 0 w 2"/>
              <a:gd name="T21" fmla="*/ 5040313 h 2"/>
              <a:gd name="T22" fmla="*/ 0 w 2"/>
              <a:gd name="T23" fmla="*/ 5040313 h 2"/>
              <a:gd name="T24" fmla="*/ 5040313 w 2"/>
              <a:gd name="T25" fmla="*/ 5040313 h 2"/>
              <a:gd name="T26" fmla="*/ 5040313 w 2"/>
              <a:gd name="T27" fmla="*/ 5040313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1290"/>
          <p:cNvSpPr>
            <a:spLocks/>
          </p:cNvSpPr>
          <p:nvPr/>
        </p:nvSpPr>
        <p:spPr bwMode="auto">
          <a:xfrm>
            <a:off x="719138" y="517525"/>
            <a:ext cx="3175" cy="3175"/>
          </a:xfrm>
          <a:custGeom>
            <a:avLst/>
            <a:gdLst>
              <a:gd name="T0" fmla="*/ 0 w 2"/>
              <a:gd name="T1" fmla="*/ 5040313 h 2"/>
              <a:gd name="T2" fmla="*/ 0 w 2"/>
              <a:gd name="T3" fmla="*/ 5040313 h 2"/>
              <a:gd name="T4" fmla="*/ 5040313 w 2"/>
              <a:gd name="T5" fmla="*/ 5040313 h 2"/>
              <a:gd name="T6" fmla="*/ 5040313 w 2"/>
              <a:gd name="T7" fmla="*/ 5040313 h 2"/>
              <a:gd name="T8" fmla="*/ 5040313 w 2"/>
              <a:gd name="T9" fmla="*/ 5040313 h 2"/>
              <a:gd name="T10" fmla="*/ 5040313 w 2"/>
              <a:gd name="T11" fmla="*/ 0 h 2"/>
              <a:gd name="T12" fmla="*/ 0 w 2"/>
              <a:gd name="T13" fmla="*/ 0 h 2"/>
              <a:gd name="T14" fmla="*/ 0 w 2"/>
              <a:gd name="T15" fmla="*/ 0 h 2"/>
              <a:gd name="T16" fmla="*/ 0 w 2"/>
              <a:gd name="T17" fmla="*/ 0 h 2"/>
              <a:gd name="T18" fmla="*/ 0 w 2"/>
              <a:gd name="T19" fmla="*/ 0 h 2"/>
              <a:gd name="T20" fmla="*/ 5040313 w 2"/>
              <a:gd name="T21" fmla="*/ 0 h 2"/>
              <a:gd name="T22" fmla="*/ 0 w 2"/>
              <a:gd name="T23" fmla="*/ 0 h 2"/>
              <a:gd name="T24" fmla="*/ 0 w 2"/>
              <a:gd name="T25" fmla="*/ 0 h 2"/>
              <a:gd name="T26" fmla="*/ 0 w 2"/>
              <a:gd name="T27" fmla="*/ 0 h 2"/>
              <a:gd name="T28" fmla="*/ 0 w 2"/>
              <a:gd name="T29" fmla="*/ 0 h 2"/>
              <a:gd name="T30" fmla="*/ 0 w 2"/>
              <a:gd name="T31" fmla="*/ 5040313 h 2"/>
              <a:gd name="T32" fmla="*/ 0 w 2"/>
              <a:gd name="T33" fmla="*/ 5040313 h 2"/>
              <a:gd name="T34" fmla="*/ 0 w 2"/>
              <a:gd name="T35" fmla="*/ 5040313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5040313 h 2"/>
              <a:gd name="T50" fmla="*/ 5040313 w 2"/>
              <a:gd name="T51" fmla="*/ 5040313 h 2"/>
              <a:gd name="T52" fmla="*/ 5040313 w 2"/>
              <a:gd name="T53" fmla="*/ 0 h 2"/>
              <a:gd name="T54" fmla="*/ 5040313 w 2"/>
              <a:gd name="T55" fmla="*/ 0 h 2"/>
              <a:gd name="T56" fmla="*/ 0 w 2"/>
              <a:gd name="T57" fmla="*/ 0 h 2"/>
              <a:gd name="T58" fmla="*/ 0 w 2"/>
              <a:gd name="T59" fmla="*/ 0 h 2"/>
              <a:gd name="T60" fmla="*/ 0 w 2"/>
              <a:gd name="T61" fmla="*/ 5040313 h 2"/>
              <a:gd name="T62" fmla="*/ 0 w 2"/>
              <a:gd name="T63" fmla="*/ 5040313 h 2"/>
              <a:gd name="T64" fmla="*/ 5040313 w 2"/>
              <a:gd name="T65" fmla="*/ 5040313 h 2"/>
              <a:gd name="T66" fmla="*/ 5040313 w 2"/>
              <a:gd name="T67" fmla="*/ 5040313 h 2"/>
              <a:gd name="T68" fmla="*/ 0 w 2"/>
              <a:gd name="T69" fmla="*/ 5040313 h 2"/>
              <a:gd name="T70" fmla="*/ 0 w 2"/>
              <a:gd name="T71" fmla="*/ 5040313 h 2"/>
              <a:gd name="T72" fmla="*/ 0 w 2"/>
              <a:gd name="T73" fmla="*/ 5040313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5"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6"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7"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61"/>
          <p:cNvSpPr>
            <a:spLocks noChangeArrowheads="1"/>
          </p:cNvSpPr>
          <p:nvPr/>
        </p:nvSpPr>
        <p:spPr bwMode="auto">
          <a:xfrm>
            <a:off x="0" y="4302125"/>
            <a:ext cx="9144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pic>
        <p:nvPicPr>
          <p:cNvPr id="6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1475" y="4916488"/>
            <a:ext cx="4141788" cy="82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4" name="Group 65"/>
          <p:cNvGrpSpPr>
            <a:grpSpLocks/>
          </p:cNvGrpSpPr>
          <p:nvPr userDrawn="1"/>
        </p:nvGrpSpPr>
        <p:grpSpPr bwMode="auto">
          <a:xfrm>
            <a:off x="371475" y="6269038"/>
            <a:ext cx="8224838" cy="260350"/>
            <a:chOff x="202219" y="1895846"/>
            <a:chExt cx="8223381" cy="261239"/>
          </a:xfrm>
        </p:grpSpPr>
        <p:sp>
          <p:nvSpPr>
            <p:cNvPr id="65" name="TextBox 64"/>
            <p:cNvSpPr txBox="1">
              <a:spLocks noChangeArrowheads="1"/>
            </p:cNvSpPr>
            <p:nvPr userDrawn="1"/>
          </p:nvSpPr>
          <p:spPr bwMode="auto">
            <a:xfrm>
              <a:off x="202219" y="1895846"/>
              <a:ext cx="8223381" cy="215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57200" eaLnBrk="0" hangingPunct="0">
                <a:defRPr sz="1600" b="1">
                  <a:solidFill>
                    <a:schemeClr val="tx1"/>
                  </a:solidFill>
                  <a:latin typeface="Trebuchet MS" pitchFamily="34" charset="0"/>
                  <a:ea typeface="MS PGothic" pitchFamily="34" charset="-128"/>
                </a:defRPr>
              </a:lvl1pPr>
              <a:lvl2pPr marL="742950" indent="-285750" defTabSz="457200" eaLnBrk="0" hangingPunct="0">
                <a:defRPr sz="1600" b="1">
                  <a:solidFill>
                    <a:schemeClr val="tx1"/>
                  </a:solidFill>
                  <a:latin typeface="Trebuchet MS" pitchFamily="34" charset="0"/>
                  <a:ea typeface="MS PGothic" pitchFamily="34" charset="-128"/>
                </a:defRPr>
              </a:lvl2pPr>
              <a:lvl3pPr marL="1143000" indent="-228600" defTabSz="457200" eaLnBrk="0" hangingPunct="0">
                <a:defRPr sz="1600" b="1">
                  <a:solidFill>
                    <a:schemeClr val="tx1"/>
                  </a:solidFill>
                  <a:latin typeface="Trebuchet MS" pitchFamily="34" charset="0"/>
                  <a:ea typeface="MS PGothic" pitchFamily="34" charset="-128"/>
                </a:defRPr>
              </a:lvl3pPr>
              <a:lvl4pPr marL="1600200" indent="-228600" defTabSz="457200" eaLnBrk="0" hangingPunct="0">
                <a:defRPr sz="1600" b="1">
                  <a:solidFill>
                    <a:schemeClr val="tx1"/>
                  </a:solidFill>
                  <a:latin typeface="Trebuchet MS" pitchFamily="34" charset="0"/>
                  <a:ea typeface="MS PGothic" pitchFamily="34" charset="-128"/>
                </a:defRPr>
              </a:lvl4pPr>
              <a:lvl5pPr marL="2057400" indent="-228600" defTabSz="457200" eaLnBrk="0" hangingPunct="0">
                <a:defRPr sz="1600" b="1">
                  <a:solidFill>
                    <a:schemeClr val="tx1"/>
                  </a:solidFill>
                  <a:latin typeface="Trebuchet MS" pitchFamily="34" charset="0"/>
                  <a:ea typeface="MS PGothic" pitchFamily="34" charset="-128"/>
                </a:defRPr>
              </a:lvl5pPr>
              <a:lvl6pPr marL="25146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defTabSz="4572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ts val="200"/>
                </a:spcBef>
                <a:defRPr/>
              </a:pPr>
              <a:r>
                <a:rPr lang="en-US" altLang="en-US" sz="1400" b="0" dirty="0">
                  <a:latin typeface="+mn-lt"/>
                </a:rPr>
                <a:t>www.worldbank.org/water  |  www.blogs.worldbank.org/water   |        @</a:t>
              </a:r>
              <a:r>
                <a:rPr lang="en-US" altLang="en-US" sz="1400" b="0" dirty="0" err="1">
                  <a:latin typeface="+mn-lt"/>
                </a:rPr>
                <a:t>WorldBankWater</a:t>
              </a:r>
              <a:endParaRPr lang="en-US" altLang="en-US" sz="1400" b="0" dirty="0">
                <a:latin typeface="+mn-lt"/>
              </a:endParaRPr>
            </a:p>
          </p:txBody>
        </p:sp>
        <p:pic>
          <p:nvPicPr>
            <p:cNvPr id="66" name="Picture 5" descr="http://www.clipartbest.com/cliparts/ace/KAn/aceKAnqBi.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282238" y="1919341"/>
              <a:ext cx="237744" cy="237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7" name="TextBox 68"/>
          <p:cNvSpPr txBox="1">
            <a:spLocks noChangeArrowheads="1"/>
          </p:cNvSpPr>
          <p:nvPr userDrawn="1"/>
        </p:nvSpPr>
        <p:spPr bwMode="auto">
          <a:xfrm>
            <a:off x="2886075" y="73025"/>
            <a:ext cx="60325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600" b="1">
                <a:solidFill>
                  <a:schemeClr val="tx1"/>
                </a:solidFill>
                <a:latin typeface="Trebuchet MS" panose="020B0603020202020204" pitchFamily="34" charset="0"/>
                <a:ea typeface="MS PGothic" panose="020B0600070205080204" pitchFamily="34" charset="-128"/>
              </a:defRPr>
            </a:lvl1pPr>
            <a:lvl2pPr marL="742950" indent="-285750">
              <a:defRPr sz="1600" b="1">
                <a:solidFill>
                  <a:schemeClr val="tx1"/>
                </a:solidFill>
                <a:latin typeface="Trebuchet MS" panose="020B0603020202020204" pitchFamily="34" charset="0"/>
                <a:ea typeface="MS PGothic" panose="020B0600070205080204" pitchFamily="34" charset="-128"/>
              </a:defRPr>
            </a:lvl2pPr>
            <a:lvl3pPr marL="1143000" indent="-228600">
              <a:defRPr sz="1600" b="1">
                <a:solidFill>
                  <a:schemeClr val="tx1"/>
                </a:solidFill>
                <a:latin typeface="Trebuchet MS" panose="020B0603020202020204" pitchFamily="34" charset="0"/>
                <a:ea typeface="MS PGothic" panose="020B0600070205080204" pitchFamily="34" charset="-128"/>
              </a:defRPr>
            </a:lvl3pPr>
            <a:lvl4pPr marL="1600200" indent="-228600">
              <a:defRPr sz="1600" b="1">
                <a:solidFill>
                  <a:schemeClr val="tx1"/>
                </a:solidFill>
                <a:latin typeface="Trebuchet MS" panose="020B0603020202020204" pitchFamily="34" charset="0"/>
                <a:ea typeface="MS PGothic" panose="020B0600070205080204" pitchFamily="34" charset="-128"/>
              </a:defRPr>
            </a:lvl4pPr>
            <a:lvl5pPr marL="2057400" indent="-22860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algn="r" eaLnBrk="1" hangingPunct="1">
              <a:spcBef>
                <a:spcPts val="400"/>
              </a:spcBef>
            </a:pPr>
            <a:r>
              <a:rPr lang="en-US" altLang="en-US" sz="1400">
                <a:solidFill>
                  <a:srgbClr val="F2F2F2"/>
                </a:solidFill>
                <a:latin typeface="Arial Bold" panose="020B0704020202020204" pitchFamily="34" charset="0"/>
              </a:rPr>
              <a:t>Preliminary – for Internal Discussion</a:t>
            </a:r>
          </a:p>
        </p:txBody>
      </p:sp>
      <p:sp>
        <p:nvSpPr>
          <p:cNvPr id="71" name="Title 329"/>
          <p:cNvSpPr>
            <a:spLocks noGrp="1"/>
          </p:cNvSpPr>
          <p:nvPr>
            <p:ph type="title"/>
          </p:nvPr>
        </p:nvSpPr>
        <p:spPr>
          <a:xfrm>
            <a:off x="1280160" y="1955552"/>
            <a:ext cx="6971806" cy="1107996"/>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445100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2" name="Shape 4"/>
          <p:cNvSpPr>
            <a:spLocks noGrp="1"/>
          </p:cNvSpPr>
          <p:nvPr>
            <p:ph type="sldNum" sz="quarter" idx="10"/>
          </p:nvPr>
        </p:nvSpPr>
        <p:spPr/>
        <p:txBody>
          <a:bodyPr/>
          <a:lstStyle>
            <a:lvl1pPr>
              <a:defRPr/>
            </a:lvl1pPr>
          </a:lstStyle>
          <a:p>
            <a:pPr>
              <a:defRPr/>
            </a:pPr>
            <a:fld id="{477828B3-137E-4B0E-AB5E-EF528397B9BB}" type="slidenum">
              <a:rPr/>
              <a:pPr>
                <a:defRPr/>
              </a:pPr>
              <a:t>‹#›</a:t>
            </a:fld>
            <a:endParaRPr/>
          </a:p>
        </p:txBody>
      </p:sp>
    </p:spTree>
    <p:extLst>
      <p:ext uri="{BB962C8B-B14F-4D97-AF65-F5344CB8AC3E}">
        <p14:creationId xmlns:p14="http://schemas.microsoft.com/office/powerpoint/2010/main" val="1952696753"/>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har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10" name="Content Placeholder 9"/>
          <p:cNvSpPr>
            <a:spLocks noGrp="1"/>
          </p:cNvSpPr>
          <p:nvPr>
            <p:ph sz="quarter" idx="12"/>
          </p:nvPr>
        </p:nvSpPr>
        <p:spPr>
          <a:xfrm>
            <a:off x="457200" y="1448563"/>
            <a:ext cx="8229600" cy="4560887"/>
          </a:xfrm>
          <a:prstGeom prst="rect">
            <a:avLst/>
          </a:prstGeom>
        </p:spPr>
        <p:txBody>
          <a:bodyPr/>
          <a:lstStyle>
            <a:lvl1pPr marL="0" indent="0">
              <a:buNone/>
              <a:defRPr baseline="0"/>
            </a:lvl1pPr>
          </a:lstStyle>
          <a:p>
            <a:pPr lvl="0"/>
            <a:r>
              <a:rPr lang="en-US"/>
              <a:t>Click to edit Master text styles</a:t>
            </a:r>
          </a:p>
        </p:txBody>
      </p:sp>
      <p:sp>
        <p:nvSpPr>
          <p:cNvPr id="4" name="Slide Number Placeholder 13"/>
          <p:cNvSpPr>
            <a:spLocks noGrp="1"/>
          </p:cNvSpPr>
          <p:nvPr>
            <p:ph type="sldNum" sz="quarter" idx="13"/>
          </p:nvPr>
        </p:nvSpPr>
        <p:spPr>
          <a:xfrm>
            <a:off x="228600" y="6297613"/>
            <a:ext cx="481013" cy="365125"/>
          </a:xfrm>
        </p:spPr>
        <p:txBody>
          <a:bodyPr lIns="91440" tIns="45720" rIns="91440" bIns="45720" rtlCol="0" anchor="ctr"/>
          <a:lstStyle>
            <a:lvl1pPr algn="r">
              <a:defRPr sz="1000" smtClean="0">
                <a:solidFill>
                  <a:schemeClr val="tx2">
                    <a:lumMod val="65000"/>
                    <a:lumOff val="35000"/>
                  </a:schemeClr>
                </a:solidFill>
                <a:latin typeface="+mj-lt"/>
              </a:defRPr>
            </a:lvl1pPr>
          </a:lstStyle>
          <a:p>
            <a:pPr>
              <a:defRPr/>
            </a:pPr>
            <a:fld id="{DE4823C1-DF3F-49E5-98A2-915BF6C6ADBF}" type="slidenum">
              <a:rPr lang="en-US"/>
              <a:pPr>
                <a:defRPr/>
              </a:pPr>
              <a:t>‹#›</a:t>
            </a:fld>
            <a:endParaRPr lang="en-US" dirty="0"/>
          </a:p>
        </p:txBody>
      </p:sp>
    </p:spTree>
    <p:extLst>
      <p:ext uri="{BB962C8B-B14F-4D97-AF65-F5344CB8AC3E}">
        <p14:creationId xmlns:p14="http://schemas.microsoft.com/office/powerpoint/2010/main" val="1612012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600"/>
            </a:lvl1pPr>
            <a:lvl2pPr>
              <a:defRPr sz="22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13"/>
          <p:cNvSpPr>
            <a:spLocks noGrp="1"/>
          </p:cNvSpPr>
          <p:nvPr>
            <p:ph type="sldNum" sz="quarter" idx="10"/>
          </p:nvPr>
        </p:nvSpPr>
        <p:spPr>
          <a:xfrm>
            <a:off x="228600" y="6297613"/>
            <a:ext cx="481013" cy="365125"/>
          </a:xfrm>
        </p:spPr>
        <p:txBody>
          <a:bodyPr lIns="91440" tIns="45720" rIns="91440" bIns="45720" rtlCol="0" anchor="ctr"/>
          <a:lstStyle>
            <a:lvl1pPr algn="r">
              <a:defRPr sz="1000" smtClean="0">
                <a:solidFill>
                  <a:schemeClr val="tx2">
                    <a:lumMod val="65000"/>
                    <a:lumOff val="35000"/>
                  </a:schemeClr>
                </a:solidFill>
                <a:latin typeface="+mj-lt"/>
              </a:defRPr>
            </a:lvl1pPr>
          </a:lstStyle>
          <a:p>
            <a:pPr>
              <a:defRPr/>
            </a:pPr>
            <a:fld id="{6126BCC9-4453-4702-A764-DB9E9A9A417D}" type="slidenum">
              <a:rPr lang="en-US"/>
              <a:pPr>
                <a:defRPr/>
              </a:pPr>
              <a:t>‹#›</a:t>
            </a:fld>
            <a:endParaRPr lang="en-US" dirty="0"/>
          </a:p>
        </p:txBody>
      </p:sp>
    </p:spTree>
    <p:extLst>
      <p:ext uri="{BB962C8B-B14F-4D97-AF65-F5344CB8AC3E}">
        <p14:creationId xmlns:p14="http://schemas.microsoft.com/office/powerpoint/2010/main" val="296619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lvl1pPr eaLnBrk="1" hangingPunct="1">
              <a:defRPr/>
            </a:lvl1pPr>
          </a:lstStyle>
          <a:p>
            <a:pPr>
              <a:defRPr/>
            </a:pPr>
            <a:fld id="{83C4EB42-E901-4184-BE00-8FE5275F721F}" type="datetimeFigureOut">
              <a:rPr lang="en-US"/>
              <a:pPr>
                <a:defRPr/>
              </a:pPr>
              <a:t>7/10/2017</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lvl1pPr eaLnBrk="1" hangingPunct="1">
              <a:defRPr/>
            </a:lvl1pPr>
          </a:lstStyle>
          <a:p>
            <a:pPr>
              <a:defRPr/>
            </a:pPr>
            <a:endParaRPr lang="en-US"/>
          </a:p>
        </p:txBody>
      </p:sp>
      <p:sp>
        <p:nvSpPr>
          <p:cNvPr id="4" name="Slide Number Placeholder 3"/>
          <p:cNvSpPr>
            <a:spLocks noGrp="1"/>
          </p:cNvSpPr>
          <p:nvPr>
            <p:ph type="sldNum" sz="quarter" idx="12"/>
          </p:nvPr>
        </p:nvSpPr>
        <p:spPr/>
        <p:txBody>
          <a:bodyPr/>
          <a:lstStyle>
            <a:lvl1pPr>
              <a:defRPr/>
            </a:lvl1pPr>
          </a:lstStyle>
          <a:p>
            <a:pPr>
              <a:defRPr/>
            </a:pPr>
            <a:fld id="{3CD6AE23-917D-48F9-9FF3-1F5928B815EF}" type="slidenum">
              <a:rPr lang="en-US"/>
              <a:pPr>
                <a:defRPr/>
              </a:pPr>
              <a:t>‹#›</a:t>
            </a:fld>
            <a:endParaRPr lang="en-US"/>
          </a:p>
        </p:txBody>
      </p:sp>
    </p:spTree>
    <p:extLst>
      <p:ext uri="{BB962C8B-B14F-4D97-AF65-F5344CB8AC3E}">
        <p14:creationId xmlns:p14="http://schemas.microsoft.com/office/powerpoint/2010/main" val="18687858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8686800" cy="1143000"/>
          </a:xfrm>
        </p:spPr>
        <p:txBody>
          <a:bodyPr/>
          <a:lstStyle/>
          <a:p>
            <a:r>
              <a:rPr lang="en-US"/>
              <a:t>Click to edit Master title style</a:t>
            </a:r>
          </a:p>
        </p:txBody>
      </p:sp>
      <p:sp>
        <p:nvSpPr>
          <p:cNvPr id="3" name="Text Placeholder 2"/>
          <p:cNvSpPr>
            <a:spLocks noGrp="1"/>
          </p:cNvSpPr>
          <p:nvPr>
            <p:ph type="body" sz="half" idx="1"/>
          </p:nvPr>
        </p:nvSpPr>
        <p:spPr>
          <a:xfrm>
            <a:off x="457200" y="1828800"/>
            <a:ext cx="4056063" cy="4851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65663" y="1828800"/>
            <a:ext cx="4057650" cy="4851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1831759"/>
      </p:ext>
    </p:extLst>
  </p:cSld>
  <p:clrMapOvr>
    <a:masterClrMapping/>
  </p:clrMapOvr>
  <p:transition spd="slow">
    <p:cover dir="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xt Slid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1"/>
          </p:nvPr>
        </p:nvSpPr>
        <p:spPr>
          <a:xfrm>
            <a:off x="457201" y="1466850"/>
            <a:ext cx="8229600" cy="4592638"/>
          </a:xfrm>
          <a:prstGeom prst="rect">
            <a:avLst/>
          </a:prstGeom>
        </p:spPr>
        <p:txBody>
          <a:bodyPr/>
          <a:lstStyle>
            <a:lvl1pPr marL="457200" marR="0"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lvl1pPr>
            <a:lvl2pPr>
              <a:defRPr>
                <a:solidFill>
                  <a:schemeClr val="bg2"/>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13"/>
          <p:cNvSpPr>
            <a:spLocks noGrp="1"/>
          </p:cNvSpPr>
          <p:nvPr>
            <p:ph type="sldNum" sz="quarter" idx="12"/>
          </p:nvPr>
        </p:nvSpPr>
        <p:spPr>
          <a:xfrm>
            <a:off x="228600" y="6297613"/>
            <a:ext cx="481013" cy="365125"/>
          </a:xfrm>
        </p:spPr>
        <p:txBody>
          <a:bodyPr lIns="91440" tIns="45720" rIns="91440" bIns="45720" rtlCol="0" anchor="ctr"/>
          <a:lstStyle>
            <a:lvl1pPr algn="r">
              <a:defRPr sz="1000" smtClean="0">
                <a:solidFill>
                  <a:schemeClr val="tx2">
                    <a:lumMod val="65000"/>
                    <a:lumOff val="35000"/>
                  </a:schemeClr>
                </a:solidFill>
                <a:latin typeface="+mj-lt"/>
              </a:defRPr>
            </a:lvl1pPr>
          </a:lstStyle>
          <a:p>
            <a:pPr>
              <a:defRPr/>
            </a:pPr>
            <a:fld id="{DEDE45AB-1AEB-4715-B815-0B9902D3D18B}" type="slidenum">
              <a:rPr lang="en-US"/>
              <a:pPr>
                <a:defRPr/>
              </a:pPr>
              <a:t>‹#›</a:t>
            </a:fld>
            <a:endParaRPr lang="en-US" dirty="0"/>
          </a:p>
        </p:txBody>
      </p:sp>
    </p:spTree>
    <p:extLst>
      <p:ext uri="{BB962C8B-B14F-4D97-AF65-F5344CB8AC3E}">
        <p14:creationId xmlns:p14="http://schemas.microsoft.com/office/powerpoint/2010/main" val="37388614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3.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7188" y="301625"/>
            <a:ext cx="846137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over slide</a:t>
            </a:r>
          </a:p>
        </p:txBody>
      </p:sp>
      <p:sp>
        <p:nvSpPr>
          <p:cNvPr id="3" name="Rectangle 6"/>
          <p:cNvSpPr>
            <a:spLocks noGrp="1" noChangeArrowheads="1"/>
          </p:cNvSpPr>
          <p:nvPr>
            <p:ph type="sldNum" sz="quarter" idx="4"/>
          </p:nvPr>
        </p:nvSpPr>
        <p:spPr bwMode="auto">
          <a:xfrm>
            <a:off x="357188" y="6311900"/>
            <a:ext cx="2873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36000" rIns="0" bIns="0" numCol="1" anchor="t" anchorCtr="0" compatLnSpc="1">
            <a:prstTxWarp prst="textNoShape">
              <a:avLst/>
            </a:prstTxWarp>
          </a:bodyPr>
          <a:lstStyle>
            <a:lvl1pPr algn="l" eaLnBrk="1" hangingPunct="1">
              <a:defRPr sz="900" smtClean="0">
                <a:solidFill>
                  <a:schemeClr val="tx1"/>
                </a:solidFill>
                <a:latin typeface="Arial"/>
                <a:cs typeface="Arial"/>
              </a:defRPr>
            </a:lvl1pPr>
          </a:lstStyle>
          <a:p>
            <a:pPr>
              <a:defRPr/>
            </a:pPr>
            <a:fld id="{20C96B5D-0DD6-4EC4-98C6-8AA19CD6A25F}" type="slidenum">
              <a:rPr lang="en-US"/>
              <a:pPr>
                <a:defRPr/>
              </a:pPr>
              <a:t>‹#›</a:t>
            </a:fld>
            <a:endParaRPr lang="en-US" dirty="0"/>
          </a:p>
        </p:txBody>
      </p:sp>
      <p:sp>
        <p:nvSpPr>
          <p:cNvPr id="1028" name="TextBox 4"/>
          <p:cNvSpPr txBox="1">
            <a:spLocks noChangeArrowheads="1"/>
          </p:cNvSpPr>
          <p:nvPr/>
        </p:nvSpPr>
        <p:spPr bwMode="auto">
          <a:xfrm>
            <a:off x="357188" y="6465888"/>
            <a:ext cx="6032500"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600" b="1">
                <a:solidFill>
                  <a:schemeClr val="tx1"/>
                </a:solidFill>
                <a:latin typeface="Trebuchet MS" panose="020B0603020202020204" pitchFamily="34" charset="0"/>
                <a:ea typeface="MS PGothic" panose="020B0600070205080204" pitchFamily="34" charset="-128"/>
              </a:defRPr>
            </a:lvl1pPr>
            <a:lvl2pPr marL="742950" indent="-285750">
              <a:defRPr sz="1600" b="1">
                <a:solidFill>
                  <a:schemeClr val="tx1"/>
                </a:solidFill>
                <a:latin typeface="Trebuchet MS" panose="020B0603020202020204" pitchFamily="34" charset="0"/>
                <a:ea typeface="MS PGothic" panose="020B0600070205080204" pitchFamily="34" charset="-128"/>
              </a:defRPr>
            </a:lvl2pPr>
            <a:lvl3pPr marL="1143000" indent="-228600">
              <a:defRPr sz="1600" b="1">
                <a:solidFill>
                  <a:schemeClr val="tx1"/>
                </a:solidFill>
                <a:latin typeface="Trebuchet MS" panose="020B0603020202020204" pitchFamily="34" charset="0"/>
                <a:ea typeface="MS PGothic" panose="020B0600070205080204" pitchFamily="34" charset="-128"/>
              </a:defRPr>
            </a:lvl3pPr>
            <a:lvl4pPr marL="1600200" indent="-228600">
              <a:defRPr sz="1600" b="1">
                <a:solidFill>
                  <a:schemeClr val="tx1"/>
                </a:solidFill>
                <a:latin typeface="Trebuchet MS" panose="020B0603020202020204" pitchFamily="34" charset="0"/>
                <a:ea typeface="MS PGothic" panose="020B0600070205080204" pitchFamily="34" charset="-128"/>
              </a:defRPr>
            </a:lvl4pPr>
            <a:lvl5pPr marL="2057400" indent="-22860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eaLnBrk="1" hangingPunct="1">
              <a:spcBef>
                <a:spcPts val="400"/>
              </a:spcBef>
            </a:pPr>
            <a:r>
              <a:rPr lang="en-US" altLang="en-US" sz="1400">
                <a:solidFill>
                  <a:srgbClr val="A6A6A6"/>
                </a:solidFill>
                <a:latin typeface="Arial Bold" panose="020B0704020202020204" pitchFamily="34" charset="0"/>
              </a:rPr>
              <a:t>Preliminary – for Discussion Purposes Only</a:t>
            </a:r>
          </a:p>
        </p:txBody>
      </p:sp>
    </p:spTree>
  </p:cSld>
  <p:clrMap bg1="lt1" tx1="dk1" bg2="lt2" tx2="dk2" accent1="accent1" accent2="accent2" accent3="accent3" accent4="accent4" accent5="accent5" accent6="accent6" hlink="hlink" folHlink="folHlink"/>
  <p:sldLayoutIdLst>
    <p:sldLayoutId id="2147485488" r:id="rId1"/>
    <p:sldLayoutId id="2147485489" r:id="rId2"/>
    <p:sldLayoutId id="2147485490" r:id="rId3"/>
    <p:sldLayoutId id="2147485491" r:id="rId4"/>
    <p:sldLayoutId id="2147485492" r:id="rId5"/>
    <p:sldLayoutId id="2147485493" r:id="rId6"/>
    <p:sldLayoutId id="2147485494" r:id="rId7"/>
    <p:sldLayoutId id="2147485495" r:id="rId8"/>
    <p:sldLayoutId id="2147485496" r:id="rId9"/>
    <p:sldLayoutId id="2147485497" r:id="rId10"/>
  </p:sldLayoutIdLst>
  <p:hf hdr="0" ftr="0" dt="0"/>
  <p:txStyles>
    <p:titleStyle>
      <a:lvl1pPr algn="l" rtl="0" fontAlgn="base">
        <a:spcBef>
          <a:spcPct val="0"/>
        </a:spcBef>
        <a:spcAft>
          <a:spcPct val="0"/>
        </a:spcAft>
        <a:defRPr sz="3200">
          <a:solidFill>
            <a:schemeClr val="tx1"/>
          </a:solidFill>
          <a:latin typeface="+mn-lt"/>
          <a:ea typeface="MS PGothic" pitchFamily="34" charset="-128"/>
          <a:cs typeface="+mj-cs"/>
        </a:defRPr>
      </a:lvl1pPr>
      <a:lvl2pPr algn="l" rtl="0" fontAlgn="base">
        <a:spcBef>
          <a:spcPct val="0"/>
        </a:spcBef>
        <a:spcAft>
          <a:spcPct val="0"/>
        </a:spcAft>
        <a:defRPr sz="3200">
          <a:solidFill>
            <a:schemeClr val="tx1"/>
          </a:solidFill>
          <a:latin typeface="Arial" charset="0"/>
          <a:ea typeface="MS PGothic" pitchFamily="34" charset="-128"/>
        </a:defRPr>
      </a:lvl2pPr>
      <a:lvl3pPr algn="l" rtl="0" fontAlgn="base">
        <a:spcBef>
          <a:spcPct val="0"/>
        </a:spcBef>
        <a:spcAft>
          <a:spcPct val="0"/>
        </a:spcAft>
        <a:defRPr sz="3200">
          <a:solidFill>
            <a:schemeClr val="tx1"/>
          </a:solidFill>
          <a:latin typeface="Arial" charset="0"/>
          <a:ea typeface="MS PGothic" pitchFamily="34" charset="-128"/>
        </a:defRPr>
      </a:lvl3pPr>
      <a:lvl4pPr algn="l" rtl="0" fontAlgn="base">
        <a:spcBef>
          <a:spcPct val="0"/>
        </a:spcBef>
        <a:spcAft>
          <a:spcPct val="0"/>
        </a:spcAft>
        <a:defRPr sz="3200">
          <a:solidFill>
            <a:schemeClr val="tx1"/>
          </a:solidFill>
          <a:latin typeface="Arial" charset="0"/>
          <a:ea typeface="MS PGothic" pitchFamily="34" charset="-128"/>
        </a:defRPr>
      </a:lvl4pPr>
      <a:lvl5pPr algn="l" rtl="0" fontAlgn="base">
        <a:spcBef>
          <a:spcPct val="0"/>
        </a:spcBef>
        <a:spcAft>
          <a:spcPct val="0"/>
        </a:spcAft>
        <a:defRPr sz="3200">
          <a:solidFill>
            <a:schemeClr val="tx1"/>
          </a:solidFill>
          <a:latin typeface="Arial" charset="0"/>
          <a:ea typeface="MS PGothic" pitchFamily="34" charset="-128"/>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algn="l" rtl="0" fontAlgn="base">
        <a:lnSpc>
          <a:spcPct val="115000"/>
        </a:lnSpc>
        <a:spcBef>
          <a:spcPct val="20000"/>
        </a:spcBef>
        <a:spcAft>
          <a:spcPct val="0"/>
        </a:spcAft>
        <a:buClr>
          <a:srgbClr val="00783C"/>
        </a:buClr>
        <a:defRPr>
          <a:solidFill>
            <a:schemeClr val="tx1"/>
          </a:solidFill>
          <a:latin typeface="+mn-lt"/>
          <a:ea typeface="MS PGothic" pitchFamily="34" charset="-128"/>
          <a:cs typeface="+mn-cs"/>
        </a:defRPr>
      </a:lvl1pPr>
      <a:lvl2pPr algn="l" rtl="0" fontAlgn="base">
        <a:spcBef>
          <a:spcPct val="20000"/>
        </a:spcBef>
        <a:spcAft>
          <a:spcPct val="0"/>
        </a:spcAft>
        <a:buClr>
          <a:srgbClr val="00783C"/>
        </a:buClr>
        <a:buFont typeface="Wingdings" panose="05000000000000000000" pitchFamily="2" charset="2"/>
        <a:defRPr>
          <a:solidFill>
            <a:schemeClr val="tx1"/>
          </a:solidFill>
          <a:latin typeface="+mn-lt"/>
          <a:ea typeface="MS PGothic" pitchFamily="34" charset="-128"/>
        </a:defRPr>
      </a:lvl2pPr>
      <a:lvl3pPr marL="4763" algn="l" rtl="0" fontAlgn="base">
        <a:spcBef>
          <a:spcPct val="20000"/>
        </a:spcBef>
        <a:spcAft>
          <a:spcPct val="0"/>
        </a:spcAft>
        <a:buClr>
          <a:srgbClr val="00783C"/>
        </a:buClr>
        <a:defRPr>
          <a:solidFill>
            <a:schemeClr val="tx1"/>
          </a:solidFill>
          <a:latin typeface="+mn-lt"/>
          <a:ea typeface="MS PGothic" pitchFamily="34" charset="-128"/>
        </a:defRPr>
      </a:lvl3pPr>
      <a:lvl4pPr algn="l" rtl="0" fontAlgn="base">
        <a:spcBef>
          <a:spcPct val="20000"/>
        </a:spcBef>
        <a:spcAft>
          <a:spcPct val="0"/>
        </a:spcAft>
        <a:buClr>
          <a:srgbClr val="00783C"/>
        </a:buClr>
        <a:defRPr>
          <a:solidFill>
            <a:schemeClr val="tx1"/>
          </a:solidFill>
          <a:latin typeface="+mn-lt"/>
          <a:ea typeface="MS PGothic" pitchFamily="34" charset="-128"/>
        </a:defRPr>
      </a:lvl4pPr>
      <a:lvl5pPr algn="l" rtl="0" fontAlgn="base">
        <a:spcBef>
          <a:spcPct val="20000"/>
        </a:spcBef>
        <a:spcAft>
          <a:spcPct val="0"/>
        </a:spcAft>
        <a:buClr>
          <a:srgbClr val="00783C"/>
        </a:buClr>
        <a:defRPr>
          <a:solidFill>
            <a:schemeClr val="tx1"/>
          </a:solidFill>
          <a:latin typeface="+mn-lt"/>
          <a:ea typeface="MS PGothic" pitchFamily="34" charset="-128"/>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709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Title Here (Arial 30, Bold)</a:t>
            </a:r>
          </a:p>
        </p:txBody>
      </p:sp>
      <p:sp>
        <p:nvSpPr>
          <p:cNvPr id="3" name="Text Placeholder 2"/>
          <p:cNvSpPr>
            <a:spLocks noGrp="1"/>
          </p:cNvSpPr>
          <p:nvPr>
            <p:ph type="body" idx="1"/>
          </p:nvPr>
        </p:nvSpPr>
        <p:spPr>
          <a:xfrm>
            <a:off x="457200" y="1408113"/>
            <a:ext cx="8229600" cy="4718050"/>
          </a:xfrm>
          <a:prstGeom prst="rect">
            <a:avLst/>
          </a:prstGeom>
        </p:spPr>
        <p:txBody>
          <a:bodyPr vert="horz" lIns="91440" tIns="45720" rIns="91440" bIns="45720" rtlCol="0">
            <a:normAutofit/>
          </a:bodyPr>
          <a:lstStyle/>
          <a:p>
            <a:pPr lvl="0"/>
            <a:r>
              <a:rPr lang="en-US" dirty="0"/>
              <a:t>Paragraph text (Arial 26)</a:t>
            </a:r>
          </a:p>
          <a:p>
            <a:pPr lvl="0"/>
            <a:r>
              <a:rPr lang="en-US" dirty="0"/>
              <a:t>First level bulle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52"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83413" y="6296025"/>
            <a:ext cx="183991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a:spLocks noChangeArrowheads="1"/>
          </p:cNvSpPr>
          <p:nvPr/>
        </p:nvSpPr>
        <p:spPr bwMode="auto">
          <a:xfrm>
            <a:off x="0" y="1143000"/>
            <a:ext cx="9144000" cy="90488"/>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15" name="Slide Number Placeholder 13"/>
          <p:cNvSpPr>
            <a:spLocks noGrp="1"/>
          </p:cNvSpPr>
          <p:nvPr>
            <p:ph type="sldNum" sz="quarter" idx="4"/>
          </p:nvPr>
        </p:nvSpPr>
        <p:spPr>
          <a:xfrm>
            <a:off x="228600" y="6297613"/>
            <a:ext cx="481013" cy="365125"/>
          </a:xfrm>
          <a:prstGeom prst="rect">
            <a:avLst/>
          </a:prstGeom>
        </p:spPr>
        <p:txBody>
          <a:bodyPr vert="horz" lIns="91440" tIns="45720" rIns="91440" bIns="45720" rtlCol="0" anchor="ctr"/>
          <a:lstStyle>
            <a:lvl1pPr algn="r" eaLnBrk="1" hangingPunct="1">
              <a:defRPr sz="1000" smtClean="0">
                <a:solidFill>
                  <a:schemeClr val="tx2">
                    <a:lumMod val="65000"/>
                    <a:lumOff val="35000"/>
                  </a:schemeClr>
                </a:solidFill>
                <a:latin typeface="+mj-lt"/>
              </a:defRPr>
            </a:lvl1pPr>
          </a:lstStyle>
          <a:p>
            <a:pPr>
              <a:defRPr/>
            </a:pPr>
            <a:fld id="{CEDEB607-28C4-491E-AB57-DCB877338DC6}"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5484" r:id="rId1"/>
    <p:sldLayoutId id="2147485485" r:id="rId2"/>
    <p:sldLayoutId id="2147485486" r:id="rId3"/>
    <p:sldLayoutId id="2147485487" r:id="rId4"/>
    <p:sldLayoutId id="2147485500" r:id="rId5"/>
    <p:sldLayoutId id="2147485501" r:id="rId6"/>
    <p:sldLayoutId id="2147485517" r:id="rId7"/>
  </p:sldLayoutIdLst>
  <p:hf hdr="0" ftr="0" dt="0"/>
  <p:txStyles>
    <p:titleStyle>
      <a:lvl1pPr algn="l" rtl="0" fontAlgn="base">
        <a:spcBef>
          <a:spcPct val="0"/>
        </a:spcBef>
        <a:spcAft>
          <a:spcPct val="0"/>
        </a:spcAft>
        <a:defRPr sz="3000" b="1" kern="1200">
          <a:solidFill>
            <a:schemeClr val="tx1"/>
          </a:solidFill>
          <a:latin typeface="Arial" panose="020B0604020202020204" pitchFamily="34" charset="0"/>
          <a:ea typeface="+mj-ea"/>
          <a:cs typeface="Arial" panose="020B0604020202020204" pitchFamily="34" charset="0"/>
        </a:defRPr>
      </a:lvl1pPr>
      <a:lvl2pPr algn="l" rtl="0" fontAlgn="base">
        <a:spcBef>
          <a:spcPct val="0"/>
        </a:spcBef>
        <a:spcAft>
          <a:spcPct val="0"/>
        </a:spcAft>
        <a:defRPr sz="3000" b="1">
          <a:solidFill>
            <a:schemeClr val="tx1"/>
          </a:solidFill>
          <a:latin typeface="Arial" panose="020B0604020202020204" pitchFamily="34" charset="0"/>
          <a:cs typeface="Arial" panose="020B0604020202020204" pitchFamily="34" charset="0"/>
        </a:defRPr>
      </a:lvl2pPr>
      <a:lvl3pPr algn="l" rtl="0" fontAlgn="base">
        <a:spcBef>
          <a:spcPct val="0"/>
        </a:spcBef>
        <a:spcAft>
          <a:spcPct val="0"/>
        </a:spcAft>
        <a:defRPr sz="3000" b="1">
          <a:solidFill>
            <a:schemeClr val="tx1"/>
          </a:solidFill>
          <a:latin typeface="Arial" panose="020B0604020202020204" pitchFamily="34" charset="0"/>
          <a:cs typeface="Arial" panose="020B0604020202020204" pitchFamily="34" charset="0"/>
        </a:defRPr>
      </a:lvl3pPr>
      <a:lvl4pPr algn="l" rtl="0" fontAlgn="base">
        <a:spcBef>
          <a:spcPct val="0"/>
        </a:spcBef>
        <a:spcAft>
          <a:spcPct val="0"/>
        </a:spcAft>
        <a:defRPr sz="3000" b="1">
          <a:solidFill>
            <a:schemeClr val="tx1"/>
          </a:solidFill>
          <a:latin typeface="Arial" panose="020B0604020202020204" pitchFamily="34" charset="0"/>
          <a:cs typeface="Arial" panose="020B0604020202020204" pitchFamily="34" charset="0"/>
        </a:defRPr>
      </a:lvl4pPr>
      <a:lvl5pPr algn="l" rtl="0" fontAlgn="base">
        <a:spcBef>
          <a:spcPct val="0"/>
        </a:spcBef>
        <a:spcAft>
          <a:spcPct val="0"/>
        </a:spcAft>
        <a:defRPr sz="3000" b="1">
          <a:solidFill>
            <a:schemeClr val="tx1"/>
          </a:solidFill>
          <a:latin typeface="Arial" panose="020B0604020202020204" pitchFamily="34" charset="0"/>
          <a:cs typeface="Arial" panose="020B0604020202020204" pitchFamily="34" charset="0"/>
        </a:defRPr>
      </a:lvl5pPr>
      <a:lvl6pPr marL="457200" algn="l" rtl="0" fontAlgn="base">
        <a:spcBef>
          <a:spcPct val="0"/>
        </a:spcBef>
        <a:spcAft>
          <a:spcPct val="0"/>
        </a:spcAft>
        <a:defRPr sz="3000" b="1">
          <a:solidFill>
            <a:schemeClr val="tx1"/>
          </a:solidFill>
          <a:latin typeface="Arial" panose="020B0604020202020204" pitchFamily="34" charset="0"/>
          <a:cs typeface="Arial" panose="020B0604020202020204" pitchFamily="34" charset="0"/>
        </a:defRPr>
      </a:lvl6pPr>
      <a:lvl7pPr marL="914400" algn="l" rtl="0" fontAlgn="base">
        <a:spcBef>
          <a:spcPct val="0"/>
        </a:spcBef>
        <a:spcAft>
          <a:spcPct val="0"/>
        </a:spcAft>
        <a:defRPr sz="3000" b="1">
          <a:solidFill>
            <a:schemeClr val="tx1"/>
          </a:solidFill>
          <a:latin typeface="Arial" panose="020B0604020202020204" pitchFamily="34" charset="0"/>
          <a:cs typeface="Arial" panose="020B0604020202020204" pitchFamily="34" charset="0"/>
        </a:defRPr>
      </a:lvl7pPr>
      <a:lvl8pPr marL="1371600" algn="l" rtl="0" fontAlgn="base">
        <a:spcBef>
          <a:spcPct val="0"/>
        </a:spcBef>
        <a:spcAft>
          <a:spcPct val="0"/>
        </a:spcAft>
        <a:defRPr sz="3000" b="1">
          <a:solidFill>
            <a:schemeClr val="tx1"/>
          </a:solidFill>
          <a:latin typeface="Arial" panose="020B0604020202020204" pitchFamily="34" charset="0"/>
          <a:cs typeface="Arial" panose="020B0604020202020204" pitchFamily="34" charset="0"/>
        </a:defRPr>
      </a:lvl8pPr>
      <a:lvl9pPr marL="1828800" algn="l" rtl="0" fontAlgn="base">
        <a:spcBef>
          <a:spcPct val="0"/>
        </a:spcBef>
        <a:spcAft>
          <a:spcPct val="0"/>
        </a:spcAft>
        <a:defRPr sz="3000" b="1">
          <a:solidFill>
            <a:schemeClr val="tx1"/>
          </a:solidFill>
          <a:latin typeface="Arial" panose="020B0604020202020204" pitchFamily="34" charset="0"/>
          <a:cs typeface="Arial" panose="020B0604020202020204" pitchFamily="34" charset="0"/>
        </a:defRPr>
      </a:lvl9pPr>
    </p:titleStyle>
    <p:bodyStyle>
      <a:lvl1pPr marL="457200" indent="-457200" algn="l" rtl="0" fontAlgn="base">
        <a:spcBef>
          <a:spcPct val="20000"/>
        </a:spcBef>
        <a:spcAft>
          <a:spcPct val="0"/>
        </a:spcAft>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742950" indent="-285750" algn="l" rtl="0" fontAlgn="base">
        <a:spcBef>
          <a:spcPct val="20000"/>
        </a:spcBef>
        <a:spcAft>
          <a:spcPct val="0"/>
        </a:spcAft>
        <a:buFont typeface="Arial" panose="020B0604020202020204" pitchFamily="34" charset="0"/>
        <a:buChar char="–"/>
        <a:defRPr sz="2200" kern="1200">
          <a:solidFill>
            <a:schemeClr val="bg2"/>
          </a:solidFill>
          <a:latin typeface="Arial" panose="020B0604020202020204" pitchFamily="34" charset="0"/>
          <a:ea typeface="+mn-ea"/>
          <a:cs typeface="Arial" panose="020B0604020202020204" pitchFamily="34" charset="0"/>
        </a:defRPr>
      </a:lvl2pPr>
      <a:lvl3pPr marL="1143000" indent="-228600" algn="l" rtl="0" fontAlgn="base">
        <a:spcBef>
          <a:spcPct val="200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3pPr>
      <a:lvl4pPr marL="1600200" indent="-228600" algn="l" rtl="0" fontAlgn="base">
        <a:spcBef>
          <a:spcPct val="200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4pPr>
      <a:lvl5pPr marL="2057400" indent="-228600" algn="l" rtl="0" fontAlgn="base">
        <a:spcBef>
          <a:spcPct val="200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Rectangle 6"/>
          <p:cNvSpPr>
            <a:spLocks noGrp="1" noChangeArrowheads="1"/>
          </p:cNvSpPr>
          <p:nvPr>
            <p:ph type="sldNum" sz="quarter" idx="4"/>
          </p:nvPr>
        </p:nvSpPr>
        <p:spPr bwMode="auto">
          <a:xfrm>
            <a:off x="357188" y="6311900"/>
            <a:ext cx="2873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36000" rIns="0" bIns="0" numCol="1" anchor="t" anchorCtr="0" compatLnSpc="1">
            <a:prstTxWarp prst="textNoShape">
              <a:avLst/>
            </a:prstTxWarp>
          </a:bodyPr>
          <a:lstStyle>
            <a:lvl1pPr algn="l" eaLnBrk="1" hangingPunct="1">
              <a:defRPr sz="900" smtClean="0">
                <a:solidFill>
                  <a:schemeClr val="tx1"/>
                </a:solidFill>
                <a:latin typeface="Arial"/>
                <a:cs typeface="Arial"/>
              </a:defRPr>
            </a:lvl1pPr>
          </a:lstStyle>
          <a:p>
            <a:pPr>
              <a:defRPr/>
            </a:pPr>
            <a:fld id="{528B5BB2-AB87-483B-BB82-A94F0F25E78C}" type="slidenum">
              <a:rPr lang="en-US"/>
              <a:pPr>
                <a:defRPr/>
              </a:pPr>
              <a:t>‹#›</a:t>
            </a:fld>
            <a:endParaRPr lang="en-US" dirty="0"/>
          </a:p>
        </p:txBody>
      </p:sp>
      <p:sp>
        <p:nvSpPr>
          <p:cNvPr id="3075" name="TextBox 4"/>
          <p:cNvSpPr txBox="1">
            <a:spLocks noChangeArrowheads="1"/>
          </p:cNvSpPr>
          <p:nvPr/>
        </p:nvSpPr>
        <p:spPr bwMode="auto">
          <a:xfrm>
            <a:off x="2886075" y="73025"/>
            <a:ext cx="60325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600" b="1">
                <a:solidFill>
                  <a:schemeClr val="tx1"/>
                </a:solidFill>
                <a:latin typeface="Trebuchet MS" panose="020B0603020202020204" pitchFamily="34" charset="0"/>
                <a:ea typeface="MS PGothic" panose="020B0600070205080204" pitchFamily="34" charset="-128"/>
              </a:defRPr>
            </a:lvl1pPr>
            <a:lvl2pPr marL="742950" indent="-285750">
              <a:defRPr sz="1600" b="1">
                <a:solidFill>
                  <a:schemeClr val="tx1"/>
                </a:solidFill>
                <a:latin typeface="Trebuchet MS" panose="020B0603020202020204" pitchFamily="34" charset="0"/>
                <a:ea typeface="MS PGothic" panose="020B0600070205080204" pitchFamily="34" charset="-128"/>
              </a:defRPr>
            </a:lvl2pPr>
            <a:lvl3pPr marL="1143000" indent="-228600">
              <a:defRPr sz="1600" b="1">
                <a:solidFill>
                  <a:schemeClr val="tx1"/>
                </a:solidFill>
                <a:latin typeface="Trebuchet MS" panose="020B0603020202020204" pitchFamily="34" charset="0"/>
                <a:ea typeface="MS PGothic" panose="020B0600070205080204" pitchFamily="34" charset="-128"/>
              </a:defRPr>
            </a:lvl3pPr>
            <a:lvl4pPr marL="1600200" indent="-228600">
              <a:defRPr sz="1600" b="1">
                <a:solidFill>
                  <a:schemeClr val="tx1"/>
                </a:solidFill>
                <a:latin typeface="Trebuchet MS" panose="020B0603020202020204" pitchFamily="34" charset="0"/>
                <a:ea typeface="MS PGothic" panose="020B0600070205080204" pitchFamily="34" charset="-128"/>
              </a:defRPr>
            </a:lvl4pPr>
            <a:lvl5pPr marL="2057400" indent="-22860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algn="r" eaLnBrk="1" hangingPunct="1">
              <a:spcBef>
                <a:spcPts val="400"/>
              </a:spcBef>
            </a:pPr>
            <a:r>
              <a:rPr lang="en-US" altLang="en-US" sz="1400">
                <a:solidFill>
                  <a:srgbClr val="F2F2F2"/>
                </a:solidFill>
                <a:latin typeface="Arial Bold" panose="020B0704020202020204" pitchFamily="34" charset="0"/>
              </a:rPr>
              <a:t>Preliminary – for Internal Discussion</a:t>
            </a:r>
          </a:p>
        </p:txBody>
      </p:sp>
    </p:spTree>
  </p:cSld>
  <p:clrMap bg1="lt1" tx1="dk1" bg2="lt2" tx2="dk2" accent1="accent1" accent2="accent2" accent3="accent3" accent4="accent4" accent5="accent5" accent6="accent6" hlink="hlink" folHlink="folHlink"/>
  <p:sldLayoutIdLst>
    <p:sldLayoutId id="2147485502" r:id="rId1"/>
    <p:sldLayoutId id="2147485503" r:id="rId2"/>
    <p:sldLayoutId id="2147485504" r:id="rId3"/>
    <p:sldLayoutId id="2147485505" r:id="rId4"/>
    <p:sldLayoutId id="2147485506" r:id="rId5"/>
    <p:sldLayoutId id="2147485507" r:id="rId6"/>
    <p:sldLayoutId id="2147485508" r:id="rId7"/>
    <p:sldLayoutId id="2147485509" r:id="rId8"/>
    <p:sldLayoutId id="2147485510" r:id="rId9"/>
    <p:sldLayoutId id="2147485511" r:id="rId10"/>
    <p:sldLayoutId id="2147485512" r:id="rId11"/>
    <p:sldLayoutId id="2147485513" r:id="rId12"/>
    <p:sldLayoutId id="2147485514" r:id="rId13"/>
    <p:sldLayoutId id="2147485515" r:id="rId14"/>
  </p:sldLayoutIdLst>
  <p:hf hdr="0" ftr="0" dt="0"/>
  <p:txStyles>
    <p:titleStyle>
      <a:lvl1pPr algn="l" rtl="0" fontAlgn="base">
        <a:spcBef>
          <a:spcPct val="0"/>
        </a:spcBef>
        <a:spcAft>
          <a:spcPct val="0"/>
        </a:spcAft>
        <a:defRPr sz="3200">
          <a:solidFill>
            <a:schemeClr val="tx1"/>
          </a:solidFill>
          <a:latin typeface="+mn-lt"/>
          <a:ea typeface="MS PGothic" pitchFamily="34" charset="-128"/>
          <a:cs typeface="+mj-cs"/>
        </a:defRPr>
      </a:lvl1pPr>
      <a:lvl2pPr algn="l" rtl="0" fontAlgn="base">
        <a:spcBef>
          <a:spcPct val="0"/>
        </a:spcBef>
        <a:spcAft>
          <a:spcPct val="0"/>
        </a:spcAft>
        <a:defRPr sz="3200">
          <a:solidFill>
            <a:schemeClr val="tx1"/>
          </a:solidFill>
          <a:latin typeface="Arial" charset="0"/>
          <a:ea typeface="MS PGothic" pitchFamily="34" charset="-128"/>
        </a:defRPr>
      </a:lvl2pPr>
      <a:lvl3pPr algn="l" rtl="0" fontAlgn="base">
        <a:spcBef>
          <a:spcPct val="0"/>
        </a:spcBef>
        <a:spcAft>
          <a:spcPct val="0"/>
        </a:spcAft>
        <a:defRPr sz="3200">
          <a:solidFill>
            <a:schemeClr val="tx1"/>
          </a:solidFill>
          <a:latin typeface="Arial" charset="0"/>
          <a:ea typeface="MS PGothic" pitchFamily="34" charset="-128"/>
        </a:defRPr>
      </a:lvl3pPr>
      <a:lvl4pPr algn="l" rtl="0" fontAlgn="base">
        <a:spcBef>
          <a:spcPct val="0"/>
        </a:spcBef>
        <a:spcAft>
          <a:spcPct val="0"/>
        </a:spcAft>
        <a:defRPr sz="3200">
          <a:solidFill>
            <a:schemeClr val="tx1"/>
          </a:solidFill>
          <a:latin typeface="Arial" charset="0"/>
          <a:ea typeface="MS PGothic" pitchFamily="34" charset="-128"/>
        </a:defRPr>
      </a:lvl4pPr>
      <a:lvl5pPr algn="l" rtl="0" fontAlgn="base">
        <a:spcBef>
          <a:spcPct val="0"/>
        </a:spcBef>
        <a:spcAft>
          <a:spcPct val="0"/>
        </a:spcAft>
        <a:defRPr sz="3200">
          <a:solidFill>
            <a:schemeClr val="tx1"/>
          </a:solidFill>
          <a:latin typeface="Arial" charset="0"/>
          <a:ea typeface="MS PGothic" pitchFamily="34" charset="-128"/>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algn="l" rtl="0" fontAlgn="base">
        <a:lnSpc>
          <a:spcPct val="115000"/>
        </a:lnSpc>
        <a:spcBef>
          <a:spcPct val="20000"/>
        </a:spcBef>
        <a:spcAft>
          <a:spcPct val="0"/>
        </a:spcAft>
        <a:buClr>
          <a:srgbClr val="00783C"/>
        </a:buClr>
        <a:defRPr>
          <a:solidFill>
            <a:schemeClr val="tx1"/>
          </a:solidFill>
          <a:latin typeface="+mn-lt"/>
          <a:ea typeface="MS PGothic" pitchFamily="34" charset="-128"/>
          <a:cs typeface="+mn-cs"/>
        </a:defRPr>
      </a:lvl1pPr>
      <a:lvl2pPr algn="l" rtl="0" fontAlgn="base">
        <a:spcBef>
          <a:spcPct val="20000"/>
        </a:spcBef>
        <a:spcAft>
          <a:spcPct val="0"/>
        </a:spcAft>
        <a:buClr>
          <a:srgbClr val="00783C"/>
        </a:buClr>
        <a:buFont typeface="Wingdings" panose="05000000000000000000" pitchFamily="2" charset="2"/>
        <a:defRPr>
          <a:solidFill>
            <a:schemeClr val="tx1"/>
          </a:solidFill>
          <a:latin typeface="+mn-lt"/>
          <a:ea typeface="MS PGothic" pitchFamily="34" charset="-128"/>
        </a:defRPr>
      </a:lvl2pPr>
      <a:lvl3pPr marL="4763" algn="l" rtl="0" fontAlgn="base">
        <a:spcBef>
          <a:spcPct val="20000"/>
        </a:spcBef>
        <a:spcAft>
          <a:spcPct val="0"/>
        </a:spcAft>
        <a:buClr>
          <a:srgbClr val="00783C"/>
        </a:buClr>
        <a:defRPr>
          <a:solidFill>
            <a:schemeClr val="tx1"/>
          </a:solidFill>
          <a:latin typeface="+mn-lt"/>
          <a:ea typeface="MS PGothic" pitchFamily="34" charset="-128"/>
        </a:defRPr>
      </a:lvl3pPr>
      <a:lvl4pPr algn="l" rtl="0" fontAlgn="base">
        <a:spcBef>
          <a:spcPct val="20000"/>
        </a:spcBef>
        <a:spcAft>
          <a:spcPct val="0"/>
        </a:spcAft>
        <a:buClr>
          <a:srgbClr val="00783C"/>
        </a:buClr>
        <a:defRPr>
          <a:solidFill>
            <a:schemeClr val="tx1"/>
          </a:solidFill>
          <a:latin typeface="+mn-lt"/>
          <a:ea typeface="MS PGothic" pitchFamily="34" charset="-128"/>
        </a:defRPr>
      </a:lvl4pPr>
      <a:lvl5pPr algn="l" rtl="0" fontAlgn="base">
        <a:spcBef>
          <a:spcPct val="20000"/>
        </a:spcBef>
        <a:spcAft>
          <a:spcPct val="0"/>
        </a:spcAft>
        <a:buClr>
          <a:srgbClr val="00783C"/>
        </a:buClr>
        <a:defRPr>
          <a:solidFill>
            <a:schemeClr val="tx1"/>
          </a:solidFill>
          <a:latin typeface="+mn-lt"/>
          <a:ea typeface="MS PGothic" pitchFamily="34" charset="-128"/>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Rectangle 6"/>
          <p:cNvSpPr>
            <a:spLocks noGrp="1" noChangeArrowheads="1"/>
          </p:cNvSpPr>
          <p:nvPr>
            <p:ph type="sldNum" sz="quarter" idx="4"/>
          </p:nvPr>
        </p:nvSpPr>
        <p:spPr bwMode="auto">
          <a:xfrm>
            <a:off x="357188" y="6311900"/>
            <a:ext cx="2873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36000" rIns="0" bIns="0" numCol="1" anchor="t" anchorCtr="0" compatLnSpc="1">
            <a:prstTxWarp prst="textNoShape">
              <a:avLst/>
            </a:prstTxWarp>
          </a:bodyPr>
          <a:lstStyle>
            <a:lvl1pPr algn="l" eaLnBrk="1" hangingPunct="1">
              <a:defRPr sz="900" smtClean="0">
                <a:solidFill>
                  <a:schemeClr val="tx1"/>
                </a:solidFill>
                <a:latin typeface="Arial"/>
                <a:cs typeface="Arial"/>
              </a:defRPr>
            </a:lvl1pPr>
          </a:lstStyle>
          <a:p>
            <a:pPr>
              <a:defRPr/>
            </a:pPr>
            <a:fld id="{8569E6F9-55EB-4FB0-851A-39E5A07947EB}" type="slidenum">
              <a:rPr lang="en-US"/>
              <a:pPr>
                <a:defRPr/>
              </a:pPr>
              <a:t>‹#›</a:t>
            </a:fld>
            <a:endParaRPr lang="en-US" dirty="0"/>
          </a:p>
        </p:txBody>
      </p:sp>
      <p:sp>
        <p:nvSpPr>
          <p:cNvPr id="4099" name="TextBox 4"/>
          <p:cNvSpPr txBox="1">
            <a:spLocks noChangeArrowheads="1"/>
          </p:cNvSpPr>
          <p:nvPr/>
        </p:nvSpPr>
        <p:spPr bwMode="auto">
          <a:xfrm>
            <a:off x="2886075" y="73025"/>
            <a:ext cx="60325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600" b="1">
                <a:solidFill>
                  <a:schemeClr val="tx1"/>
                </a:solidFill>
                <a:latin typeface="Trebuchet MS" panose="020B0603020202020204" pitchFamily="34" charset="0"/>
                <a:ea typeface="MS PGothic" panose="020B0600070205080204" pitchFamily="34" charset="-128"/>
              </a:defRPr>
            </a:lvl1pPr>
            <a:lvl2pPr marL="742950" indent="-285750">
              <a:defRPr sz="1600" b="1">
                <a:solidFill>
                  <a:schemeClr val="tx1"/>
                </a:solidFill>
                <a:latin typeface="Trebuchet MS" panose="020B0603020202020204" pitchFamily="34" charset="0"/>
                <a:ea typeface="MS PGothic" panose="020B0600070205080204" pitchFamily="34" charset="-128"/>
              </a:defRPr>
            </a:lvl2pPr>
            <a:lvl3pPr marL="1143000" indent="-228600">
              <a:defRPr sz="1600" b="1">
                <a:solidFill>
                  <a:schemeClr val="tx1"/>
                </a:solidFill>
                <a:latin typeface="Trebuchet MS" panose="020B0603020202020204" pitchFamily="34" charset="0"/>
                <a:ea typeface="MS PGothic" panose="020B0600070205080204" pitchFamily="34" charset="-128"/>
              </a:defRPr>
            </a:lvl3pPr>
            <a:lvl4pPr marL="1600200" indent="-228600">
              <a:defRPr sz="1600" b="1">
                <a:solidFill>
                  <a:schemeClr val="tx1"/>
                </a:solidFill>
                <a:latin typeface="Trebuchet MS" panose="020B0603020202020204" pitchFamily="34" charset="0"/>
                <a:ea typeface="MS PGothic" panose="020B0600070205080204" pitchFamily="34" charset="-128"/>
              </a:defRPr>
            </a:lvl4pPr>
            <a:lvl5pPr marL="2057400" indent="-22860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pPr algn="r" eaLnBrk="1" hangingPunct="1">
              <a:spcBef>
                <a:spcPts val="400"/>
              </a:spcBef>
            </a:pPr>
            <a:r>
              <a:rPr lang="en-US" altLang="en-US" sz="1400">
                <a:solidFill>
                  <a:srgbClr val="F2F2F2"/>
                </a:solidFill>
                <a:latin typeface="Arial Bold" panose="020B0704020202020204" pitchFamily="34" charset="0"/>
              </a:rPr>
              <a:t>Preliminary – for Internal Discussion</a:t>
            </a:r>
          </a:p>
        </p:txBody>
      </p:sp>
    </p:spTree>
  </p:cSld>
  <p:clrMap bg1="lt1" tx1="dk1" bg2="lt2" tx2="dk2" accent1="accent1" accent2="accent2" accent3="accent3" accent4="accent4" accent5="accent5" accent6="accent6" hlink="hlink" folHlink="folHlink"/>
  <p:sldLayoutIdLst>
    <p:sldLayoutId id="2147485516" r:id="rId1"/>
  </p:sldLayoutIdLst>
  <p:hf hdr="0" ftr="0" dt="0"/>
  <p:txStyles>
    <p:titleStyle>
      <a:lvl1pPr algn="l" rtl="0" fontAlgn="base">
        <a:spcBef>
          <a:spcPct val="0"/>
        </a:spcBef>
        <a:spcAft>
          <a:spcPct val="0"/>
        </a:spcAft>
        <a:defRPr sz="3200">
          <a:solidFill>
            <a:schemeClr val="tx1"/>
          </a:solidFill>
          <a:latin typeface="+mn-lt"/>
          <a:ea typeface="MS PGothic" pitchFamily="34" charset="-128"/>
          <a:cs typeface="+mj-cs"/>
        </a:defRPr>
      </a:lvl1pPr>
      <a:lvl2pPr algn="l" rtl="0" fontAlgn="base">
        <a:spcBef>
          <a:spcPct val="0"/>
        </a:spcBef>
        <a:spcAft>
          <a:spcPct val="0"/>
        </a:spcAft>
        <a:defRPr sz="3200">
          <a:solidFill>
            <a:schemeClr val="tx1"/>
          </a:solidFill>
          <a:latin typeface="Arial" charset="0"/>
          <a:ea typeface="MS PGothic" pitchFamily="34" charset="-128"/>
        </a:defRPr>
      </a:lvl2pPr>
      <a:lvl3pPr algn="l" rtl="0" fontAlgn="base">
        <a:spcBef>
          <a:spcPct val="0"/>
        </a:spcBef>
        <a:spcAft>
          <a:spcPct val="0"/>
        </a:spcAft>
        <a:defRPr sz="3200">
          <a:solidFill>
            <a:schemeClr val="tx1"/>
          </a:solidFill>
          <a:latin typeface="Arial" charset="0"/>
          <a:ea typeface="MS PGothic" pitchFamily="34" charset="-128"/>
        </a:defRPr>
      </a:lvl3pPr>
      <a:lvl4pPr algn="l" rtl="0" fontAlgn="base">
        <a:spcBef>
          <a:spcPct val="0"/>
        </a:spcBef>
        <a:spcAft>
          <a:spcPct val="0"/>
        </a:spcAft>
        <a:defRPr sz="3200">
          <a:solidFill>
            <a:schemeClr val="tx1"/>
          </a:solidFill>
          <a:latin typeface="Arial" charset="0"/>
          <a:ea typeface="MS PGothic" pitchFamily="34" charset="-128"/>
        </a:defRPr>
      </a:lvl4pPr>
      <a:lvl5pPr algn="l" rtl="0" fontAlgn="base">
        <a:spcBef>
          <a:spcPct val="0"/>
        </a:spcBef>
        <a:spcAft>
          <a:spcPct val="0"/>
        </a:spcAft>
        <a:defRPr sz="3200">
          <a:solidFill>
            <a:schemeClr val="tx1"/>
          </a:solidFill>
          <a:latin typeface="Arial" charset="0"/>
          <a:ea typeface="MS PGothic" pitchFamily="34" charset="-128"/>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algn="l" rtl="0" fontAlgn="base">
        <a:lnSpc>
          <a:spcPct val="115000"/>
        </a:lnSpc>
        <a:spcBef>
          <a:spcPct val="20000"/>
        </a:spcBef>
        <a:spcAft>
          <a:spcPct val="0"/>
        </a:spcAft>
        <a:buClr>
          <a:srgbClr val="00783C"/>
        </a:buClr>
        <a:defRPr>
          <a:solidFill>
            <a:schemeClr val="tx1"/>
          </a:solidFill>
          <a:latin typeface="+mn-lt"/>
          <a:ea typeface="MS PGothic" pitchFamily="34" charset="-128"/>
          <a:cs typeface="+mn-cs"/>
        </a:defRPr>
      </a:lvl1pPr>
      <a:lvl2pPr algn="l" rtl="0" fontAlgn="base">
        <a:spcBef>
          <a:spcPct val="20000"/>
        </a:spcBef>
        <a:spcAft>
          <a:spcPct val="0"/>
        </a:spcAft>
        <a:buClr>
          <a:srgbClr val="00783C"/>
        </a:buClr>
        <a:buFont typeface="Wingdings" panose="05000000000000000000" pitchFamily="2" charset="2"/>
        <a:defRPr>
          <a:solidFill>
            <a:schemeClr val="tx1"/>
          </a:solidFill>
          <a:latin typeface="+mn-lt"/>
          <a:ea typeface="MS PGothic" pitchFamily="34" charset="-128"/>
        </a:defRPr>
      </a:lvl2pPr>
      <a:lvl3pPr marL="4763" algn="l" rtl="0" fontAlgn="base">
        <a:spcBef>
          <a:spcPct val="20000"/>
        </a:spcBef>
        <a:spcAft>
          <a:spcPct val="0"/>
        </a:spcAft>
        <a:buClr>
          <a:srgbClr val="00783C"/>
        </a:buClr>
        <a:defRPr>
          <a:solidFill>
            <a:schemeClr val="tx1"/>
          </a:solidFill>
          <a:latin typeface="+mn-lt"/>
          <a:ea typeface="MS PGothic" pitchFamily="34" charset="-128"/>
        </a:defRPr>
      </a:lvl3pPr>
      <a:lvl4pPr algn="l" rtl="0" fontAlgn="base">
        <a:spcBef>
          <a:spcPct val="20000"/>
        </a:spcBef>
        <a:spcAft>
          <a:spcPct val="0"/>
        </a:spcAft>
        <a:buClr>
          <a:srgbClr val="00783C"/>
        </a:buClr>
        <a:defRPr>
          <a:solidFill>
            <a:schemeClr val="tx1"/>
          </a:solidFill>
          <a:latin typeface="+mn-lt"/>
          <a:ea typeface="MS PGothic" pitchFamily="34" charset="-128"/>
        </a:defRPr>
      </a:lvl4pPr>
      <a:lvl5pPr algn="l" rtl="0" fontAlgn="base">
        <a:spcBef>
          <a:spcPct val="20000"/>
        </a:spcBef>
        <a:spcAft>
          <a:spcPct val="0"/>
        </a:spcAft>
        <a:buClr>
          <a:srgbClr val="00783C"/>
        </a:buClr>
        <a:defRPr>
          <a:solidFill>
            <a:schemeClr val="tx1"/>
          </a:solidFill>
          <a:latin typeface="+mn-lt"/>
          <a:ea typeface="MS PGothic" pitchFamily="34" charset="-128"/>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20.png"/><Relationship Id="rId4" Type="http://schemas.openxmlformats.org/officeDocument/2006/relationships/oleObject" Target="../embeddings/oleObject1.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1157288" y="2286000"/>
            <a:ext cx="6972300" cy="800100"/>
          </a:xfrm>
        </p:spPr>
        <p:txBody>
          <a:bodyPr/>
          <a:lstStyle/>
          <a:p>
            <a:pPr>
              <a:spcBef>
                <a:spcPct val="0"/>
              </a:spcBef>
            </a:pPr>
            <a:br>
              <a:rPr lang="es-419" altLang="en-US" dirty="0"/>
            </a:br>
            <a:br>
              <a:rPr lang="es-419" altLang="en-US" dirty="0"/>
            </a:br>
            <a:br>
              <a:rPr lang="es-419" altLang="en-US" dirty="0"/>
            </a:br>
            <a:r>
              <a:rPr lang="es-419" altLang="en-US" dirty="0" err="1"/>
              <a:t>Drought</a:t>
            </a:r>
            <a:r>
              <a:rPr lang="es-419" altLang="en-US" dirty="0"/>
              <a:t> Response</a:t>
            </a:r>
            <a:br>
              <a:rPr lang="es-419" altLang="en-US" dirty="0"/>
            </a:br>
            <a:r>
              <a:rPr lang="es-419" altLang="en-US" dirty="0" err="1"/>
              <a:t>The</a:t>
            </a:r>
            <a:r>
              <a:rPr lang="es-419" altLang="en-US" dirty="0"/>
              <a:t> California </a:t>
            </a:r>
            <a:r>
              <a:rPr lang="es-419" altLang="en-US" dirty="0" err="1"/>
              <a:t>Experience</a:t>
            </a:r>
            <a:endParaRPr lang="es-419" altLang="en-US" dirty="0"/>
          </a:p>
        </p:txBody>
      </p:sp>
      <p:sp>
        <p:nvSpPr>
          <p:cNvPr id="36867" name="Text Placeholder 3"/>
          <p:cNvSpPr>
            <a:spLocks noGrp="1"/>
          </p:cNvSpPr>
          <p:nvPr>
            <p:ph type="body" sz="quarter" idx="15"/>
          </p:nvPr>
        </p:nvSpPr>
        <p:spPr bwMode="auto">
          <a:xfrm>
            <a:off x="1276350" y="3379788"/>
            <a:ext cx="5605463" cy="593725"/>
          </a:xfrm>
        </p:spPr>
        <p:txBody>
          <a:bodyPr wrap="square" numCol="1" anchorCtr="0" compatLnSpc="1">
            <a:prstTxWarp prst="textNoShape">
              <a:avLst/>
            </a:prstTxWarp>
            <a:normAutofit fontScale="85000" lnSpcReduction="20000"/>
          </a:bodyPr>
          <a:lstStyle/>
          <a:p>
            <a:pPr marL="0" indent="0">
              <a:spcBef>
                <a:spcPct val="0"/>
              </a:spcBef>
              <a:buFont typeface="Arial" panose="020B0604020202020204" pitchFamily="34" charset="0"/>
              <a:buNone/>
            </a:pPr>
            <a:r>
              <a:rPr lang="es-419" altLang="en-US" sz="1800" dirty="0">
                <a:latin typeface="Arial" panose="020B0604020202020204" pitchFamily="34" charset="0"/>
                <a:cs typeface="Arial" panose="020B0604020202020204" pitchFamily="34" charset="0"/>
              </a:rPr>
              <a:t>Beirut</a:t>
            </a:r>
          </a:p>
          <a:p>
            <a:pPr marL="0" indent="0">
              <a:spcBef>
                <a:spcPct val="0"/>
              </a:spcBef>
              <a:buFont typeface="Arial" panose="020B0604020202020204" pitchFamily="34" charset="0"/>
              <a:buNone/>
            </a:pPr>
            <a:r>
              <a:rPr lang="es-419" altLang="en-US" sz="1800" dirty="0">
                <a:latin typeface="Arial" panose="020B0604020202020204" pitchFamily="34" charset="0"/>
                <a:cs typeface="Arial" panose="020B0604020202020204" pitchFamily="34" charset="0"/>
              </a:rPr>
              <a:t>Clémentine Stip</a:t>
            </a:r>
          </a:p>
          <a:p>
            <a:pPr marL="0" indent="0">
              <a:spcBef>
                <a:spcPct val="0"/>
              </a:spcBef>
              <a:buFont typeface="Arial" panose="020B0604020202020204" pitchFamily="34" charset="0"/>
              <a:buNone/>
            </a:pPr>
            <a:r>
              <a:rPr lang="es-419" altLang="en-US" sz="1800" dirty="0" err="1">
                <a:latin typeface="Arial" panose="020B0604020202020204" pitchFamily="34" charset="0"/>
                <a:cs typeface="Arial" panose="020B0604020202020204" pitchFamily="34" charset="0"/>
              </a:rPr>
              <a:t>July</a:t>
            </a:r>
            <a:r>
              <a:rPr lang="es-419" altLang="en-US" sz="1800" dirty="0">
                <a:latin typeface="Arial" panose="020B0604020202020204" pitchFamily="34" charset="0"/>
                <a:cs typeface="Arial" panose="020B0604020202020204" pitchFamily="34" charset="0"/>
              </a:rPr>
              <a:t> 10, 2017</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rvine Ranch Water District</a:t>
            </a:r>
          </a:p>
        </p:txBody>
      </p:sp>
      <p:pic>
        <p:nvPicPr>
          <p:cNvPr id="5" name="Content Placeholder 4"/>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3348835" y="1336675"/>
            <a:ext cx="5692449" cy="4560888"/>
          </a:xfrm>
        </p:spPr>
      </p:pic>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9</a:t>
            </a:fld>
            <a:endParaRPr lang="en-US" dirty="0"/>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162764"/>
            <a:ext cx="4995208" cy="5708809"/>
          </a:xfrm>
          <a:prstGeom prst="rect">
            <a:avLst/>
          </a:prstGeom>
        </p:spPr>
      </p:pic>
      <p:sp>
        <p:nvSpPr>
          <p:cNvPr id="7" name="TextBox 6"/>
          <p:cNvSpPr txBox="1"/>
          <p:nvPr/>
        </p:nvSpPr>
        <p:spPr>
          <a:xfrm>
            <a:off x="1440656" y="6250860"/>
            <a:ext cx="2365534" cy="369332"/>
          </a:xfrm>
          <a:prstGeom prst="rect">
            <a:avLst/>
          </a:prstGeom>
          <a:noFill/>
        </p:spPr>
        <p:txBody>
          <a:bodyPr wrap="square" rtlCol="0">
            <a:spAutoFit/>
          </a:bodyPr>
          <a:lstStyle/>
          <a:p>
            <a:r>
              <a:rPr lang="en-US" sz="1800" dirty="0"/>
              <a:t>CALIFORNIA</a:t>
            </a:r>
          </a:p>
        </p:txBody>
      </p:sp>
      <p:cxnSp>
        <p:nvCxnSpPr>
          <p:cNvPr id="10" name="Straight Arrow Connector 9"/>
          <p:cNvCxnSpPr/>
          <p:nvPr/>
        </p:nvCxnSpPr>
        <p:spPr>
          <a:xfrm flipV="1">
            <a:off x="3348835" y="4331970"/>
            <a:ext cx="1863245" cy="156559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486650" y="4945489"/>
            <a:ext cx="2423160" cy="338554"/>
          </a:xfrm>
          <a:prstGeom prst="rect">
            <a:avLst/>
          </a:prstGeom>
          <a:noFill/>
        </p:spPr>
        <p:txBody>
          <a:bodyPr wrap="square" rtlCol="0">
            <a:spAutoFit/>
          </a:bodyPr>
          <a:lstStyle/>
          <a:p>
            <a:r>
              <a:rPr lang="en-US" dirty="0"/>
              <a:t>ORANGE COUNTY</a:t>
            </a:r>
          </a:p>
        </p:txBody>
      </p:sp>
      <p:sp>
        <p:nvSpPr>
          <p:cNvPr id="12" name="TextBox 11"/>
          <p:cNvSpPr txBox="1"/>
          <p:nvPr/>
        </p:nvSpPr>
        <p:spPr>
          <a:xfrm>
            <a:off x="5212080" y="3133675"/>
            <a:ext cx="2423160" cy="584775"/>
          </a:xfrm>
          <a:prstGeom prst="rect">
            <a:avLst/>
          </a:prstGeom>
          <a:noFill/>
        </p:spPr>
        <p:txBody>
          <a:bodyPr wrap="square" rtlCol="0">
            <a:spAutoFit/>
          </a:bodyPr>
          <a:lstStyle/>
          <a:p>
            <a:pPr algn="ctr"/>
            <a:r>
              <a:rPr lang="en-US" dirty="0"/>
              <a:t>IRVINE RANCH </a:t>
            </a:r>
          </a:p>
          <a:p>
            <a:pPr algn="ctr"/>
            <a:r>
              <a:rPr lang="en-US" dirty="0"/>
              <a:t>WATER DISTRICT</a:t>
            </a:r>
          </a:p>
        </p:txBody>
      </p:sp>
    </p:spTree>
    <p:extLst>
      <p:ext uri="{BB962C8B-B14F-4D97-AF65-F5344CB8AC3E}">
        <p14:creationId xmlns:p14="http://schemas.microsoft.com/office/powerpoint/2010/main" val="1590294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WRD – A few facts</a:t>
            </a:r>
          </a:p>
        </p:txBody>
      </p:sp>
      <p:sp>
        <p:nvSpPr>
          <p:cNvPr id="3" name="Content Placeholder 2"/>
          <p:cNvSpPr>
            <a:spLocks noGrp="1"/>
          </p:cNvSpPr>
          <p:nvPr>
            <p:ph sz="quarter" idx="12"/>
          </p:nvPr>
        </p:nvSpPr>
        <p:spPr>
          <a:xfrm>
            <a:off x="457200" y="1448563"/>
            <a:ext cx="8229600" cy="4735067"/>
          </a:xfrm>
        </p:spPr>
        <p:txBody>
          <a:bodyPr>
            <a:normAutofit/>
          </a:bodyPr>
          <a:lstStyle/>
          <a:p>
            <a:pPr marL="457200" indent="-457200">
              <a:buFont typeface="Arial" panose="020B0604020202020204" pitchFamily="34" charset="0"/>
              <a:buChar char="•"/>
            </a:pPr>
            <a:r>
              <a:rPr lang="en-US" dirty="0"/>
              <a:t>Current demand 321 liters per capita per day</a:t>
            </a:r>
          </a:p>
          <a:p>
            <a:pPr marL="1200150" lvl="1" indent="-457200">
              <a:buFont typeface="Arial" panose="020B0604020202020204" pitchFamily="34" charset="0"/>
              <a:buChar char="•"/>
            </a:pPr>
            <a:r>
              <a:rPr lang="en-US" dirty="0"/>
              <a:t>In 2008, Orange County consumption was at 719 </a:t>
            </a:r>
            <a:r>
              <a:rPr lang="en-US" dirty="0" err="1"/>
              <a:t>lpcd</a:t>
            </a:r>
            <a:r>
              <a:rPr lang="en-US" dirty="0"/>
              <a:t> compared to 341 </a:t>
            </a:r>
            <a:r>
              <a:rPr lang="en-US" dirty="0" err="1"/>
              <a:t>lpcd</a:t>
            </a:r>
            <a:r>
              <a:rPr lang="en-US" dirty="0"/>
              <a:t> in IRWD.</a:t>
            </a:r>
          </a:p>
          <a:p>
            <a:pPr marL="457200" indent="-457200">
              <a:buFont typeface="Arial" panose="020B0604020202020204" pitchFamily="34" charset="0"/>
              <a:buChar char="•"/>
            </a:pPr>
            <a:r>
              <a:rPr lang="en-US" dirty="0"/>
              <a:t>Non-revenue water at 7% (2015)</a:t>
            </a:r>
          </a:p>
          <a:p>
            <a:pPr marL="457200" indent="-457200">
              <a:buFont typeface="Arial" panose="020B0604020202020204" pitchFamily="34" charset="0"/>
              <a:buChar char="•"/>
            </a:pPr>
            <a:r>
              <a:rPr lang="en-US" dirty="0"/>
              <a:t>In the early 1990s, IRWD faced several challenges</a:t>
            </a:r>
          </a:p>
          <a:p>
            <a:pPr marL="1200150" lvl="1" indent="-457200">
              <a:buFont typeface="Arial" panose="020B0604020202020204" pitchFamily="34" charset="0"/>
              <a:buChar char="•"/>
            </a:pPr>
            <a:r>
              <a:rPr lang="en-US" dirty="0"/>
              <a:t>Population grew by more than 75% in the 1980s</a:t>
            </a:r>
          </a:p>
          <a:p>
            <a:pPr marL="1200150" lvl="1" indent="-457200">
              <a:buFont typeface="Arial" panose="020B0604020202020204" pitchFamily="34" charset="0"/>
              <a:buChar char="•"/>
            </a:pPr>
            <a:r>
              <a:rPr lang="en-US" dirty="0"/>
              <a:t>Then-worst drought on record in California (1991-2)</a:t>
            </a:r>
          </a:p>
          <a:p>
            <a:pPr marL="1200150" lvl="1" indent="-457200">
              <a:buFont typeface="Arial" panose="020B0604020202020204" pitchFamily="34" charset="0"/>
              <a:buChar char="•"/>
            </a:pPr>
            <a:r>
              <a:rPr lang="en-US" dirty="0"/>
              <a:t>Increasing wholesale water prices</a:t>
            </a:r>
          </a:p>
          <a:p>
            <a:pPr marL="457200" indent="-457200">
              <a:buFont typeface="Arial" panose="020B0604020202020204" pitchFamily="34" charset="0"/>
              <a:buChar char="•"/>
            </a:pPr>
            <a:r>
              <a:rPr lang="en-US" dirty="0"/>
              <a:t>IRWD chooses water conservation as their </a:t>
            </a:r>
            <a:r>
              <a:rPr lang="en-US" b="1" dirty="0"/>
              <a:t>main approach to meet growing demand</a:t>
            </a:r>
            <a:r>
              <a:rPr lang="en-US" dirty="0"/>
              <a:t>.</a:t>
            </a:r>
          </a:p>
          <a:p>
            <a:pPr marL="457200" indent="-457200">
              <a:buFont typeface="Arial" panose="020B0604020202020204" pitchFamily="34" charset="0"/>
              <a:buChar char="•"/>
            </a:pPr>
            <a:r>
              <a:rPr lang="en-US" dirty="0"/>
              <a:t>Pioneer of the ‘purple pipe’ in California</a:t>
            </a:r>
          </a:p>
          <a:p>
            <a:endParaRPr lang="en-US" dirty="0"/>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10</a:t>
            </a:fld>
            <a:endParaRPr lang="en-US" dirty="0"/>
          </a:p>
        </p:txBody>
      </p:sp>
    </p:spTree>
    <p:extLst>
      <p:ext uri="{BB962C8B-B14F-4D97-AF65-F5344CB8AC3E}">
        <p14:creationId xmlns:p14="http://schemas.microsoft.com/office/powerpoint/2010/main" val="1239278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WRD’s conservation strategy – water pricing</a:t>
            </a:r>
          </a:p>
        </p:txBody>
      </p:sp>
      <p:sp>
        <p:nvSpPr>
          <p:cNvPr id="3" name="Content Placeholder 2"/>
          <p:cNvSpPr>
            <a:spLocks noGrp="1"/>
          </p:cNvSpPr>
          <p:nvPr>
            <p:ph sz="quarter" idx="12"/>
          </p:nvPr>
        </p:nvSpPr>
        <p:spPr>
          <a:xfrm>
            <a:off x="457200" y="1448563"/>
            <a:ext cx="8229600" cy="5020817"/>
          </a:xfrm>
        </p:spPr>
        <p:txBody>
          <a:bodyPr>
            <a:normAutofit/>
          </a:bodyPr>
          <a:lstStyle/>
          <a:p>
            <a:pPr marL="457200" indent="-457200">
              <a:buFont typeface="Arial" panose="020B0604020202020204" pitchFamily="34" charset="0"/>
              <a:buChar char="•"/>
            </a:pPr>
            <a:r>
              <a:rPr lang="en-US" dirty="0"/>
              <a:t>Objective:</a:t>
            </a:r>
          </a:p>
          <a:p>
            <a:pPr marL="1200150" lvl="1" indent="-457200">
              <a:buFont typeface="Arial" panose="020B0604020202020204" pitchFamily="34" charset="0"/>
              <a:buChar char="•"/>
            </a:pPr>
            <a:r>
              <a:rPr lang="en-US" dirty="0"/>
              <a:t>Reduce water consumption</a:t>
            </a:r>
          </a:p>
          <a:p>
            <a:pPr marL="1200150" lvl="1" indent="-457200">
              <a:buFont typeface="Arial" panose="020B0604020202020204" pitchFamily="34" charset="0"/>
              <a:buChar char="•"/>
            </a:pPr>
            <a:r>
              <a:rPr lang="en-US" dirty="0"/>
              <a:t>Ensure revenue stability</a:t>
            </a:r>
          </a:p>
          <a:p>
            <a:pPr marL="457200" indent="-457200">
              <a:buFont typeface="Arial" panose="020B0604020202020204" pitchFamily="34" charset="0"/>
              <a:buChar char="•"/>
            </a:pPr>
            <a:r>
              <a:rPr lang="en-US" dirty="0"/>
              <a:t>The budget-based rate structure</a:t>
            </a:r>
          </a:p>
          <a:p>
            <a:pPr marL="1200150" lvl="1" indent="-457200">
              <a:buFont typeface="Arial" panose="020B0604020202020204" pitchFamily="34" charset="0"/>
              <a:buChar char="•"/>
            </a:pPr>
            <a:r>
              <a:rPr lang="en-US" dirty="0"/>
              <a:t>Separated fixed (60%) and commodity (40%) charges</a:t>
            </a:r>
          </a:p>
          <a:p>
            <a:pPr marL="1600200" lvl="2" indent="-457200"/>
            <a:r>
              <a:rPr lang="en-US" dirty="0"/>
              <a:t>Even when demand decreases, IWRD recovers costs</a:t>
            </a:r>
          </a:p>
          <a:p>
            <a:pPr marL="1200150" lvl="1" indent="-457200">
              <a:buFont typeface="Arial" panose="020B0604020202020204" pitchFamily="34" charset="0"/>
              <a:buChar char="•"/>
            </a:pPr>
            <a:r>
              <a:rPr lang="en-US" b="1" dirty="0"/>
              <a:t>Customized monthly water budget </a:t>
            </a:r>
            <a:r>
              <a:rPr lang="en-US" dirty="0"/>
              <a:t>based on several factors: </a:t>
            </a:r>
          </a:p>
          <a:p>
            <a:pPr marL="1600200" lvl="2" indent="-457200"/>
            <a:r>
              <a:rPr lang="en-US" dirty="0"/>
              <a:t>Landscape square footage of the property</a:t>
            </a:r>
          </a:p>
          <a:p>
            <a:pPr marL="1600200" lvl="2" indent="-457200"/>
            <a:r>
              <a:rPr lang="en-US" dirty="0"/>
              <a:t>Number of residents</a:t>
            </a:r>
          </a:p>
          <a:p>
            <a:pPr marL="1600200" lvl="2" indent="-457200"/>
            <a:r>
              <a:rPr lang="en-US" dirty="0"/>
              <a:t>Daily weather or evapotranspiration</a:t>
            </a:r>
          </a:p>
          <a:p>
            <a:pPr marL="1600200" lvl="2" indent="-457200"/>
            <a:r>
              <a:rPr lang="en-US" dirty="0"/>
              <a:t>Data source: city assessor records and satellite imaging technology</a:t>
            </a:r>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11</a:t>
            </a:fld>
            <a:endParaRPr lang="en-US" dirty="0"/>
          </a:p>
        </p:txBody>
      </p:sp>
    </p:spTree>
    <p:extLst>
      <p:ext uri="{BB962C8B-B14F-4D97-AF65-F5344CB8AC3E}">
        <p14:creationId xmlns:p14="http://schemas.microsoft.com/office/powerpoint/2010/main" val="16651222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te structure</a:t>
            </a:r>
          </a:p>
        </p:txBody>
      </p:sp>
      <p:graphicFrame>
        <p:nvGraphicFramePr>
          <p:cNvPr id="5" name="Content Placeholder 4"/>
          <p:cNvGraphicFramePr>
            <a:graphicFrameLocks noGrp="1"/>
          </p:cNvGraphicFramePr>
          <p:nvPr>
            <p:ph sz="quarter" idx="12"/>
            <p:extLst>
              <p:ext uri="{D42A27DB-BD31-4B8C-83A1-F6EECF244321}">
                <p14:modId xmlns:p14="http://schemas.microsoft.com/office/powerpoint/2010/main" val="2383514184"/>
              </p:ext>
            </p:extLst>
          </p:nvPr>
        </p:nvGraphicFramePr>
        <p:xfrm>
          <a:off x="102870" y="1508759"/>
          <a:ext cx="8858250" cy="4490067"/>
        </p:xfrm>
        <a:graphic>
          <a:graphicData uri="http://schemas.openxmlformats.org/drawingml/2006/table">
            <a:tbl>
              <a:tblPr firstRow="1" firstCol="1" bandRow="1">
                <a:tableStyleId>{5C22544A-7EE6-4342-B048-85BDC9FD1C3A}</a:tableStyleId>
              </a:tblPr>
              <a:tblGrid>
                <a:gridCol w="1177290">
                  <a:extLst>
                    <a:ext uri="{9D8B030D-6E8A-4147-A177-3AD203B41FA5}">
                      <a16:colId xmlns:a16="http://schemas.microsoft.com/office/drawing/2014/main" val="1719456055"/>
                    </a:ext>
                  </a:extLst>
                </a:gridCol>
                <a:gridCol w="982980">
                  <a:extLst>
                    <a:ext uri="{9D8B030D-6E8A-4147-A177-3AD203B41FA5}">
                      <a16:colId xmlns:a16="http://schemas.microsoft.com/office/drawing/2014/main" val="1515709473"/>
                    </a:ext>
                  </a:extLst>
                </a:gridCol>
                <a:gridCol w="1221740">
                  <a:extLst>
                    <a:ext uri="{9D8B030D-6E8A-4147-A177-3AD203B41FA5}">
                      <a16:colId xmlns:a16="http://schemas.microsoft.com/office/drawing/2014/main" val="3857126808"/>
                    </a:ext>
                  </a:extLst>
                </a:gridCol>
                <a:gridCol w="5476240">
                  <a:extLst>
                    <a:ext uri="{9D8B030D-6E8A-4147-A177-3AD203B41FA5}">
                      <a16:colId xmlns:a16="http://schemas.microsoft.com/office/drawing/2014/main" val="1558139659"/>
                    </a:ext>
                  </a:extLst>
                </a:gridCol>
              </a:tblGrid>
              <a:tr h="908702">
                <a:tc>
                  <a:txBody>
                    <a:bodyPr/>
                    <a:lstStyle/>
                    <a:p>
                      <a:pPr marL="0" marR="0" algn="ctr">
                        <a:lnSpc>
                          <a:spcPct val="100000"/>
                        </a:lnSpc>
                        <a:spcBef>
                          <a:spcPts val="600"/>
                        </a:spcBef>
                        <a:spcAft>
                          <a:spcPts val="600"/>
                        </a:spcAft>
                      </a:pPr>
                      <a:endParaRPr lang="en-US" sz="1400" dirty="0">
                        <a:effectLst/>
                      </a:endParaRPr>
                    </a:p>
                    <a:p>
                      <a:pPr marL="0" marR="0" algn="ctr">
                        <a:lnSpc>
                          <a:spcPct val="100000"/>
                        </a:lnSpc>
                        <a:spcBef>
                          <a:spcPts val="600"/>
                        </a:spcBef>
                        <a:spcAft>
                          <a:spcPts val="600"/>
                        </a:spcAft>
                      </a:pPr>
                      <a:r>
                        <a:rPr lang="en-US" sz="1400" dirty="0">
                          <a:effectLst/>
                        </a:rPr>
                        <a:t>Tier</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00" dirty="0">
                        <a:effectLst/>
                      </a:endParaRPr>
                    </a:p>
                    <a:p>
                      <a:pPr marL="0" marR="0" algn="ctr">
                        <a:lnSpc>
                          <a:spcPct val="100000"/>
                        </a:lnSpc>
                        <a:spcBef>
                          <a:spcPts val="600"/>
                        </a:spcBef>
                        <a:spcAft>
                          <a:spcPts val="600"/>
                        </a:spcAft>
                      </a:pPr>
                      <a:r>
                        <a:rPr lang="en-US" sz="1400" dirty="0">
                          <a:effectLst/>
                        </a:rPr>
                        <a:t>Rates </a:t>
                      </a:r>
                    </a:p>
                    <a:p>
                      <a:pPr marL="0" marR="0" algn="ctr">
                        <a:lnSpc>
                          <a:spcPct val="100000"/>
                        </a:lnSpc>
                        <a:spcBef>
                          <a:spcPts val="600"/>
                        </a:spcBef>
                        <a:spcAft>
                          <a:spcPts val="600"/>
                        </a:spcAft>
                      </a:pPr>
                      <a:r>
                        <a:rPr lang="en-US" sz="1400" dirty="0">
                          <a:effectLst/>
                        </a:rPr>
                        <a:t>per m</a:t>
                      </a:r>
                      <a:r>
                        <a:rPr lang="en-US" sz="1400" baseline="30000" dirty="0">
                          <a:effectLst/>
                        </a:rPr>
                        <a:t>3</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00" dirty="0">
                        <a:effectLst/>
                      </a:endParaRPr>
                    </a:p>
                    <a:p>
                      <a:pPr marL="0" marR="0" algn="ctr">
                        <a:lnSpc>
                          <a:spcPct val="100000"/>
                        </a:lnSpc>
                        <a:spcBef>
                          <a:spcPts val="600"/>
                        </a:spcBef>
                        <a:spcAft>
                          <a:spcPts val="600"/>
                        </a:spcAft>
                      </a:pPr>
                      <a:r>
                        <a:rPr lang="en-US" sz="1400" dirty="0">
                          <a:effectLst/>
                        </a:rPr>
                        <a:t>Use </a:t>
                      </a:r>
                      <a:endParaRPr lang="en-US" sz="1600" dirty="0">
                        <a:effectLst/>
                      </a:endParaRPr>
                    </a:p>
                    <a:p>
                      <a:pPr marL="0" marR="0" algn="ctr">
                        <a:lnSpc>
                          <a:spcPct val="100000"/>
                        </a:lnSpc>
                        <a:spcBef>
                          <a:spcPts val="600"/>
                        </a:spcBef>
                        <a:spcAft>
                          <a:spcPts val="600"/>
                        </a:spcAft>
                      </a:pPr>
                      <a:r>
                        <a:rPr lang="en-US" sz="1200" dirty="0">
                          <a:effectLst/>
                        </a:rPr>
                        <a:t>(of allocated budget)</a:t>
                      </a:r>
                      <a:endParaRPr lang="en-US" sz="100" dirty="0">
                        <a:effectLst/>
                      </a:endParaRPr>
                    </a:p>
                    <a:p>
                      <a:pPr marL="0" marR="0" algn="ctr">
                        <a:lnSpc>
                          <a:spcPct val="100000"/>
                        </a:lnSpc>
                        <a:spcBef>
                          <a:spcPts val="600"/>
                        </a:spcBef>
                        <a:spcAft>
                          <a:spcPts val="600"/>
                        </a:spcAft>
                      </a:pPr>
                      <a:endParaRPr lang="en-US" sz="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200" dirty="0">
                        <a:effectLst/>
                      </a:endParaRPr>
                    </a:p>
                    <a:p>
                      <a:pPr marL="0" marR="0" algn="ctr">
                        <a:lnSpc>
                          <a:spcPct val="100000"/>
                        </a:lnSpc>
                        <a:spcBef>
                          <a:spcPts val="600"/>
                        </a:spcBef>
                        <a:spcAft>
                          <a:spcPts val="600"/>
                        </a:spcAft>
                      </a:pPr>
                      <a:r>
                        <a:rPr lang="en-US" sz="1400" b="1" kern="1200" dirty="0">
                          <a:solidFill>
                            <a:schemeClr val="lt1"/>
                          </a:solidFill>
                          <a:effectLst/>
                          <a:latin typeface="+mn-lt"/>
                          <a:ea typeface="+mn-ea"/>
                          <a:cs typeface="+mn-cs"/>
                        </a:rPr>
                        <a:t>Description of the calculation</a:t>
                      </a:r>
                    </a:p>
                  </a:txBody>
                  <a:tcPr marL="68580" marR="68580" marT="0" marB="0"/>
                </a:tc>
                <a:extLst>
                  <a:ext uri="{0D108BD9-81ED-4DB2-BD59-A6C34878D82A}">
                    <a16:rowId xmlns:a16="http://schemas.microsoft.com/office/drawing/2014/main" val="22401093"/>
                  </a:ext>
                </a:extLst>
              </a:tr>
              <a:tr h="925245">
                <a:tc>
                  <a:txBody>
                    <a:bodyPr/>
                    <a:lstStyle/>
                    <a:p>
                      <a:pPr marL="0" marR="0" algn="ctr">
                        <a:lnSpc>
                          <a:spcPct val="100000"/>
                        </a:lnSpc>
                        <a:spcBef>
                          <a:spcPts val="600"/>
                        </a:spcBef>
                        <a:spcAft>
                          <a:spcPts val="600"/>
                        </a:spcAft>
                      </a:pPr>
                      <a:endParaRPr lang="en-US" sz="1400" dirty="0">
                        <a:effectLst/>
                      </a:endParaRPr>
                    </a:p>
                    <a:p>
                      <a:pPr marL="0" marR="0" algn="ctr">
                        <a:lnSpc>
                          <a:spcPct val="100000"/>
                        </a:lnSpc>
                        <a:spcBef>
                          <a:spcPts val="600"/>
                        </a:spcBef>
                        <a:spcAft>
                          <a:spcPts val="600"/>
                        </a:spcAft>
                      </a:pPr>
                      <a:r>
                        <a:rPr lang="en-US" sz="1400" dirty="0">
                          <a:effectLst/>
                        </a:rPr>
                        <a:t>Low Volume</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400" dirty="0">
                        <a:effectLst/>
                      </a:endParaRPr>
                    </a:p>
                    <a:p>
                      <a:pPr marL="0" marR="0" algn="ctr">
                        <a:lnSpc>
                          <a:spcPct val="100000"/>
                        </a:lnSpc>
                        <a:spcBef>
                          <a:spcPts val="600"/>
                        </a:spcBef>
                        <a:spcAft>
                          <a:spcPts val="600"/>
                        </a:spcAft>
                      </a:pPr>
                      <a:r>
                        <a:rPr lang="en-US" sz="1400" dirty="0">
                          <a:effectLst/>
                        </a:rPr>
                        <a:t>$0.48</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400" dirty="0">
                        <a:effectLst/>
                      </a:endParaRPr>
                    </a:p>
                    <a:p>
                      <a:pPr marL="0" marR="0" algn="ctr">
                        <a:lnSpc>
                          <a:spcPct val="100000"/>
                        </a:lnSpc>
                        <a:spcBef>
                          <a:spcPts val="600"/>
                        </a:spcBef>
                        <a:spcAft>
                          <a:spcPts val="600"/>
                        </a:spcAft>
                      </a:pPr>
                      <a:r>
                        <a:rPr lang="en-US" sz="1400" dirty="0">
                          <a:effectLst/>
                        </a:rPr>
                        <a:t>0-40%</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r>
                        <a:rPr lang="en-US" sz="1400" dirty="0">
                          <a:effectLst/>
                        </a:rPr>
                        <a:t>Lowest cost of source water for the Irvine Ranch Rate Area ($0.47/m</a:t>
                      </a:r>
                      <a:r>
                        <a:rPr lang="en-US" sz="1400" baseline="30000" dirty="0">
                          <a:effectLst/>
                        </a:rPr>
                        <a:t>3</a:t>
                      </a:r>
                      <a:r>
                        <a:rPr lang="en-US" sz="1400" dirty="0">
                          <a:effectLst/>
                        </a:rPr>
                        <a:t>)+ District wide conservation and urban runoffs costs ($0.01/m</a:t>
                      </a:r>
                      <a:r>
                        <a:rPr lang="en-US" sz="1400" baseline="30000" dirty="0">
                          <a:effectLst/>
                        </a:rPr>
                        <a:t>3</a:t>
                      </a:r>
                      <a:r>
                        <a:rPr lang="en-US" sz="1400" dirty="0">
                          <a:effectLst/>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556167725"/>
                  </a:ext>
                </a:extLst>
              </a:tr>
              <a:tr h="647532">
                <a:tc>
                  <a:txBody>
                    <a:bodyPr/>
                    <a:lstStyle/>
                    <a:p>
                      <a:pPr marL="0" marR="0" algn="ctr">
                        <a:lnSpc>
                          <a:spcPct val="100000"/>
                        </a:lnSpc>
                        <a:spcBef>
                          <a:spcPts val="600"/>
                        </a:spcBef>
                        <a:spcAft>
                          <a:spcPts val="600"/>
                        </a:spcAft>
                      </a:pPr>
                      <a:endParaRPr lang="en-US" sz="300" dirty="0">
                        <a:effectLst/>
                      </a:endParaRPr>
                    </a:p>
                    <a:p>
                      <a:pPr marL="0" marR="0" algn="ctr">
                        <a:lnSpc>
                          <a:spcPct val="100000"/>
                        </a:lnSpc>
                        <a:spcBef>
                          <a:spcPts val="600"/>
                        </a:spcBef>
                        <a:spcAft>
                          <a:spcPts val="600"/>
                        </a:spcAft>
                      </a:pPr>
                      <a:r>
                        <a:rPr lang="en-US" sz="1400" dirty="0">
                          <a:effectLst/>
                        </a:rPr>
                        <a:t>Base Rate</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00" dirty="0">
                        <a:effectLst/>
                      </a:endParaRPr>
                    </a:p>
                    <a:p>
                      <a:pPr marL="0" marR="0" algn="ctr">
                        <a:lnSpc>
                          <a:spcPct val="100000"/>
                        </a:lnSpc>
                        <a:spcBef>
                          <a:spcPts val="600"/>
                        </a:spcBef>
                        <a:spcAft>
                          <a:spcPts val="600"/>
                        </a:spcAft>
                      </a:pPr>
                      <a:r>
                        <a:rPr lang="en-US" sz="1400" dirty="0">
                          <a:effectLst/>
                        </a:rPr>
                        <a:t>$0.60</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00" dirty="0">
                        <a:effectLst/>
                      </a:endParaRPr>
                    </a:p>
                    <a:p>
                      <a:pPr marL="0" marR="0" algn="ctr">
                        <a:lnSpc>
                          <a:spcPct val="100000"/>
                        </a:lnSpc>
                        <a:spcBef>
                          <a:spcPts val="600"/>
                        </a:spcBef>
                        <a:spcAft>
                          <a:spcPts val="600"/>
                        </a:spcAft>
                      </a:pPr>
                      <a:r>
                        <a:rPr lang="en-US" sz="1400" dirty="0">
                          <a:effectLst/>
                        </a:rPr>
                        <a:t>41-100%</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r>
                        <a:rPr lang="en-US" sz="1400" dirty="0">
                          <a:effectLst/>
                        </a:rPr>
                        <a:t>All sources melded cost of budgeted water ($0.59/m</a:t>
                      </a:r>
                      <a:r>
                        <a:rPr lang="en-US" sz="1400" baseline="30000" dirty="0">
                          <a:effectLst/>
                        </a:rPr>
                        <a:t>3</a:t>
                      </a:r>
                      <a:r>
                        <a:rPr lang="en-US" sz="1400" dirty="0">
                          <a:effectLst/>
                        </a:rPr>
                        <a:t>)+ District wide conservation and urban runoffs costs ($0.01/m</a:t>
                      </a:r>
                      <a:r>
                        <a:rPr lang="en-US" sz="1400" baseline="30000" dirty="0">
                          <a:effectLst/>
                        </a:rPr>
                        <a:t>3</a:t>
                      </a:r>
                      <a:r>
                        <a:rPr lang="en-US" sz="1400" dirty="0">
                          <a:effectLst/>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650138020"/>
                  </a:ext>
                </a:extLst>
              </a:tr>
              <a:tr h="925245">
                <a:tc>
                  <a:txBody>
                    <a:bodyPr/>
                    <a:lstStyle/>
                    <a:p>
                      <a:pPr marL="0" marR="0" algn="ctr">
                        <a:lnSpc>
                          <a:spcPct val="100000"/>
                        </a:lnSpc>
                        <a:spcBef>
                          <a:spcPts val="600"/>
                        </a:spcBef>
                        <a:spcAft>
                          <a:spcPts val="600"/>
                        </a:spcAft>
                      </a:pPr>
                      <a:endParaRPr lang="en-US" sz="1400" dirty="0">
                        <a:effectLst/>
                      </a:endParaRPr>
                    </a:p>
                    <a:p>
                      <a:pPr marL="0" marR="0" algn="ctr">
                        <a:lnSpc>
                          <a:spcPct val="100000"/>
                        </a:lnSpc>
                        <a:spcBef>
                          <a:spcPts val="600"/>
                        </a:spcBef>
                        <a:spcAft>
                          <a:spcPts val="600"/>
                        </a:spcAft>
                      </a:pPr>
                      <a:r>
                        <a:rPr lang="en-US" sz="1400" dirty="0">
                          <a:effectLst/>
                        </a:rPr>
                        <a:t>Inefficient</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400" dirty="0">
                        <a:effectLst/>
                      </a:endParaRPr>
                    </a:p>
                    <a:p>
                      <a:pPr marL="0" marR="0" algn="ctr">
                        <a:lnSpc>
                          <a:spcPct val="100000"/>
                        </a:lnSpc>
                        <a:spcBef>
                          <a:spcPts val="600"/>
                        </a:spcBef>
                        <a:spcAft>
                          <a:spcPts val="600"/>
                        </a:spcAft>
                      </a:pPr>
                      <a:r>
                        <a:rPr lang="en-US" sz="1400" dirty="0">
                          <a:effectLst/>
                        </a:rPr>
                        <a:t>$1.44</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400" dirty="0">
                        <a:effectLst/>
                      </a:endParaRPr>
                    </a:p>
                    <a:p>
                      <a:pPr marL="0" marR="0" algn="ctr">
                        <a:lnSpc>
                          <a:spcPct val="100000"/>
                        </a:lnSpc>
                        <a:spcBef>
                          <a:spcPts val="600"/>
                        </a:spcBef>
                        <a:spcAft>
                          <a:spcPts val="600"/>
                        </a:spcAft>
                      </a:pPr>
                      <a:r>
                        <a:rPr lang="en-US" sz="1400" dirty="0">
                          <a:effectLst/>
                        </a:rPr>
                        <a:t>101-130%</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r>
                        <a:rPr lang="en-US" sz="1400" dirty="0">
                          <a:effectLst/>
                        </a:rPr>
                        <a:t>Blended cost of Baker &amp; potable imported water ($1.04/m</a:t>
                      </a:r>
                      <a:r>
                        <a:rPr lang="en-US" sz="1400" baseline="30000" dirty="0">
                          <a:effectLst/>
                        </a:rPr>
                        <a:t>3</a:t>
                      </a:r>
                      <a:r>
                        <a:rPr lang="en-US" sz="1400" dirty="0">
                          <a:effectLst/>
                        </a:rPr>
                        <a:t>) + District wide conservation ($0.01/m</a:t>
                      </a:r>
                      <a:r>
                        <a:rPr lang="en-US" sz="1400" baseline="30000" dirty="0">
                          <a:effectLst/>
                        </a:rPr>
                        <a:t>3</a:t>
                      </a:r>
                      <a:r>
                        <a:rPr lang="en-US" sz="1400" dirty="0">
                          <a:effectLst/>
                        </a:rPr>
                        <a:t>) + Conservation Targeted to Over Budget Customers and Natural Treatment System Costs ($0.39/m</a:t>
                      </a:r>
                      <a:r>
                        <a:rPr lang="en-US" sz="1400" baseline="30000" dirty="0">
                          <a:effectLst/>
                        </a:rPr>
                        <a:t>3</a:t>
                      </a: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592781091"/>
                  </a:ext>
                </a:extLst>
              </a:tr>
              <a:tr h="925245">
                <a:tc>
                  <a:txBody>
                    <a:bodyPr/>
                    <a:lstStyle/>
                    <a:p>
                      <a:pPr marL="0" marR="0" algn="ctr">
                        <a:lnSpc>
                          <a:spcPct val="100000"/>
                        </a:lnSpc>
                        <a:spcBef>
                          <a:spcPts val="600"/>
                        </a:spcBef>
                        <a:spcAft>
                          <a:spcPts val="600"/>
                        </a:spcAft>
                      </a:pPr>
                      <a:endParaRPr lang="en-US" sz="1400" dirty="0">
                        <a:effectLst/>
                      </a:endParaRPr>
                    </a:p>
                    <a:p>
                      <a:pPr marL="0" marR="0" algn="ctr">
                        <a:lnSpc>
                          <a:spcPct val="100000"/>
                        </a:lnSpc>
                        <a:spcBef>
                          <a:spcPts val="600"/>
                        </a:spcBef>
                        <a:spcAft>
                          <a:spcPts val="600"/>
                        </a:spcAft>
                      </a:pPr>
                      <a:r>
                        <a:rPr lang="en-US" sz="1400" dirty="0">
                          <a:effectLst/>
                        </a:rPr>
                        <a:t>Wasteful</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400" dirty="0">
                        <a:effectLst/>
                      </a:endParaRPr>
                    </a:p>
                    <a:p>
                      <a:pPr marL="0" marR="0" algn="ctr">
                        <a:lnSpc>
                          <a:spcPct val="100000"/>
                        </a:lnSpc>
                        <a:spcBef>
                          <a:spcPts val="600"/>
                        </a:spcBef>
                        <a:spcAft>
                          <a:spcPts val="600"/>
                        </a:spcAft>
                      </a:pPr>
                      <a:r>
                        <a:rPr lang="en-US" sz="1400" dirty="0">
                          <a:effectLst/>
                        </a:rPr>
                        <a:t>$4.26</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endParaRPr lang="en-US" sz="1400" dirty="0">
                        <a:effectLst/>
                      </a:endParaRPr>
                    </a:p>
                    <a:p>
                      <a:pPr marL="0" marR="0" algn="ctr">
                        <a:lnSpc>
                          <a:spcPct val="100000"/>
                        </a:lnSpc>
                        <a:spcBef>
                          <a:spcPts val="600"/>
                        </a:spcBef>
                        <a:spcAft>
                          <a:spcPts val="600"/>
                        </a:spcAft>
                      </a:pPr>
                      <a:r>
                        <a:rPr lang="en-US" sz="1400" dirty="0">
                          <a:effectLst/>
                        </a:rPr>
                        <a:t>131%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ctr">
                        <a:lnSpc>
                          <a:spcPct val="100000"/>
                        </a:lnSpc>
                        <a:spcBef>
                          <a:spcPts val="600"/>
                        </a:spcBef>
                        <a:spcAft>
                          <a:spcPts val="600"/>
                        </a:spcAft>
                      </a:pPr>
                      <a:r>
                        <a:rPr lang="en-US" sz="1400" dirty="0">
                          <a:effectLst/>
                        </a:rPr>
                        <a:t>Loaded cost of imported water ($1.20/m</a:t>
                      </a:r>
                      <a:r>
                        <a:rPr lang="en-US" sz="1400" baseline="30000" dirty="0">
                          <a:effectLst/>
                        </a:rPr>
                        <a:t>3</a:t>
                      </a:r>
                      <a:r>
                        <a:rPr lang="en-US" sz="1400" dirty="0">
                          <a:effectLst/>
                        </a:rPr>
                        <a:t>) + District wide conservation ($0.01/m</a:t>
                      </a:r>
                      <a:r>
                        <a:rPr lang="en-US" sz="1400" baseline="30000" dirty="0">
                          <a:effectLst/>
                        </a:rPr>
                        <a:t>3</a:t>
                      </a:r>
                      <a:r>
                        <a:rPr lang="en-US" sz="1400" dirty="0">
                          <a:effectLst/>
                        </a:rPr>
                        <a:t>) + Conservation targeted to over budget customers and N Natural Treatment System Costs ($3.05/m</a:t>
                      </a:r>
                      <a:r>
                        <a:rPr lang="en-US" sz="1400" baseline="30000" dirty="0">
                          <a:effectLst/>
                        </a:rPr>
                        <a:t>3</a:t>
                      </a:r>
                      <a:r>
                        <a:rPr lang="en-US" sz="1400" dirty="0">
                          <a:effectLst/>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25068291"/>
                  </a:ext>
                </a:extLst>
              </a:tr>
            </a:tbl>
          </a:graphicData>
        </a:graphic>
      </p:graphicFrame>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12</a:t>
            </a:fld>
            <a:endParaRPr lang="en-US" dirty="0"/>
          </a:p>
        </p:txBody>
      </p:sp>
    </p:spTree>
    <p:extLst>
      <p:ext uri="{BB962C8B-B14F-4D97-AF65-F5344CB8AC3E}">
        <p14:creationId xmlns:p14="http://schemas.microsoft.com/office/powerpoint/2010/main" val="6080988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ementing the rate structure</a:t>
            </a:r>
          </a:p>
        </p:txBody>
      </p:sp>
      <p:sp>
        <p:nvSpPr>
          <p:cNvPr id="3" name="Content Placeholder 2"/>
          <p:cNvSpPr>
            <a:spLocks noGrp="1"/>
          </p:cNvSpPr>
          <p:nvPr>
            <p:ph sz="quarter" idx="12"/>
          </p:nvPr>
        </p:nvSpPr>
        <p:spPr>
          <a:xfrm>
            <a:off x="457200" y="1448563"/>
            <a:ext cx="8229600" cy="4849050"/>
          </a:xfrm>
        </p:spPr>
        <p:txBody>
          <a:bodyPr>
            <a:normAutofit/>
          </a:bodyPr>
          <a:lstStyle/>
          <a:p>
            <a:pPr marL="457200" indent="-457200">
              <a:buFont typeface="Arial" panose="020B0604020202020204" pitchFamily="34" charset="0"/>
              <a:buChar char="•"/>
            </a:pPr>
            <a:r>
              <a:rPr lang="en-US" dirty="0"/>
              <a:t>Revenue generated from these higher billing tiers funds expenses associated with higher levels of demand </a:t>
            </a:r>
          </a:p>
          <a:p>
            <a:pPr marL="1200150" lvl="1" indent="-457200">
              <a:buFont typeface="Arial" panose="020B0604020202020204" pitchFamily="34" charset="0"/>
              <a:buChar char="•"/>
            </a:pPr>
            <a:r>
              <a:rPr lang="en-US" dirty="0"/>
              <a:t>Purchase of additional expensive imported water</a:t>
            </a:r>
          </a:p>
          <a:p>
            <a:pPr marL="1200150" lvl="1" indent="-457200">
              <a:buFont typeface="Arial" panose="020B0604020202020204" pitchFamily="34" charset="0"/>
              <a:buChar char="•"/>
            </a:pPr>
            <a:r>
              <a:rPr lang="en-US" dirty="0"/>
              <a:t>Urban runoff treatment</a:t>
            </a:r>
          </a:p>
          <a:p>
            <a:pPr marL="1200150" lvl="1" indent="-457200">
              <a:buFont typeface="Arial" panose="020B0604020202020204" pitchFamily="34" charset="0"/>
              <a:buChar char="•"/>
            </a:pPr>
            <a:r>
              <a:rPr lang="en-US" dirty="0"/>
              <a:t>Targeted water conservation programs </a:t>
            </a:r>
          </a:p>
          <a:p>
            <a:pPr marL="457200" indent="-457200">
              <a:buFont typeface="Arial" panose="020B0604020202020204" pitchFamily="34" charset="0"/>
              <a:buChar char="•"/>
            </a:pPr>
            <a:r>
              <a:rPr lang="en-US" dirty="0"/>
              <a:t>Strong public outreach campaign</a:t>
            </a:r>
          </a:p>
          <a:p>
            <a:pPr marL="1200150" lvl="1" indent="-457200">
              <a:buFont typeface="Arial" panose="020B0604020202020204" pitchFamily="34" charset="0"/>
              <a:buChar char="•"/>
            </a:pPr>
            <a:r>
              <a:rPr lang="en-US" dirty="0"/>
              <a:t>Intensive communication with various customer groups</a:t>
            </a:r>
          </a:p>
          <a:p>
            <a:pPr marL="1200150" lvl="1" indent="-457200">
              <a:buFont typeface="Arial" panose="020B0604020202020204" pitchFamily="34" charset="0"/>
              <a:buChar char="•"/>
            </a:pPr>
            <a:r>
              <a:rPr lang="en-US" dirty="0"/>
              <a:t>Meetings with local community groups</a:t>
            </a:r>
          </a:p>
          <a:p>
            <a:pPr marL="1200150" lvl="1" indent="-457200">
              <a:buFont typeface="Arial" panose="020B0604020202020204" pitchFamily="34" charset="0"/>
              <a:buChar char="•"/>
            </a:pPr>
            <a:r>
              <a:rPr lang="en-US" dirty="0"/>
              <a:t>Advice on conservation strategies and water allocation</a:t>
            </a:r>
          </a:p>
          <a:p>
            <a:pPr marL="1200150" lvl="1" indent="-457200">
              <a:buFont typeface="Arial" panose="020B0604020202020204" pitchFamily="34" charset="0"/>
              <a:buChar char="•"/>
            </a:pPr>
            <a:r>
              <a:rPr lang="en-US" dirty="0"/>
              <a:t>Financial incentives on water efficient fixtures</a:t>
            </a:r>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13</a:t>
            </a:fld>
            <a:endParaRPr lang="en-US" dirty="0"/>
          </a:p>
        </p:txBody>
      </p:sp>
    </p:spTree>
    <p:extLst>
      <p:ext uri="{BB962C8B-B14F-4D97-AF65-F5344CB8AC3E}">
        <p14:creationId xmlns:p14="http://schemas.microsoft.com/office/powerpoint/2010/main" val="32463770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bills</a:t>
            </a:r>
          </a:p>
        </p:txBody>
      </p:sp>
      <p:pic>
        <p:nvPicPr>
          <p:cNvPr id="5" name="Content Placeholder 4"/>
          <p:cNvPicPr>
            <a:picLocks noGrp="1" noChangeAspect="1"/>
          </p:cNvPicPr>
          <p:nvPr>
            <p:ph sz="quarter" idx="12"/>
          </p:nvPr>
        </p:nvPicPr>
        <p:blipFill>
          <a:blip r:embed="rId2"/>
          <a:stretch>
            <a:fillRect/>
          </a:stretch>
        </p:blipFill>
        <p:spPr>
          <a:xfrm>
            <a:off x="0" y="1291590"/>
            <a:ext cx="9145750" cy="4263357"/>
          </a:xfrm>
          <a:prstGeom prst="rect">
            <a:avLst/>
          </a:prstGeom>
        </p:spPr>
      </p:pic>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14</a:t>
            </a:fld>
            <a:endParaRPr lang="en-US" dirty="0"/>
          </a:p>
        </p:txBody>
      </p:sp>
    </p:spTree>
    <p:extLst>
      <p:ext uri="{BB962C8B-B14F-4D97-AF65-F5344CB8AC3E}">
        <p14:creationId xmlns:p14="http://schemas.microsoft.com/office/powerpoint/2010/main" val="678450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RWD: Results</a:t>
            </a:r>
          </a:p>
        </p:txBody>
      </p:sp>
      <p:sp>
        <p:nvSpPr>
          <p:cNvPr id="3" name="Content Placeholder 2"/>
          <p:cNvSpPr>
            <a:spLocks noGrp="1"/>
          </p:cNvSpPr>
          <p:nvPr>
            <p:ph sz="quarter" idx="12"/>
          </p:nvPr>
        </p:nvSpPr>
        <p:spPr>
          <a:xfrm>
            <a:off x="457200" y="1448564"/>
            <a:ext cx="8229600" cy="4849050"/>
          </a:xfrm>
        </p:spPr>
        <p:txBody>
          <a:bodyPr>
            <a:normAutofit fontScale="92500" lnSpcReduction="20000"/>
          </a:bodyPr>
          <a:lstStyle/>
          <a:p>
            <a:pPr marL="457200" indent="-457200">
              <a:buFont typeface="Arial" panose="020B0604020202020204" pitchFamily="34" charset="0"/>
              <a:buChar char="•"/>
            </a:pPr>
            <a:r>
              <a:rPr lang="en-US" sz="2800" dirty="0">
                <a:ea typeface="MS PGothic" pitchFamily="34" charset="-128"/>
              </a:rPr>
              <a:t>IRWD residents have decreased their water usage by approximately 15%, while benefiting from the lowest rates in Orange County. </a:t>
            </a:r>
          </a:p>
          <a:p>
            <a:pPr marL="457200" indent="-457200">
              <a:buFont typeface="Arial" panose="020B0604020202020204" pitchFamily="34" charset="0"/>
              <a:buChar char="•"/>
            </a:pPr>
            <a:r>
              <a:rPr lang="en-US" sz="2800" dirty="0">
                <a:ea typeface="MS PGothic" pitchFamily="34" charset="-128"/>
              </a:rPr>
              <a:t>From 1992 to 2000, landscape area doubled in size, while water use level rose only by 3%. </a:t>
            </a:r>
          </a:p>
          <a:p>
            <a:pPr marL="457200" lvl="0" indent="-457200" defTabSz="457200" eaLnBrk="0" hangingPunct="0">
              <a:spcBef>
                <a:spcPct val="30000"/>
              </a:spcBef>
              <a:buFont typeface="Arial" panose="020B0604020202020204" pitchFamily="34" charset="0"/>
              <a:buChar char="•"/>
              <a:defRPr/>
            </a:pPr>
            <a:r>
              <a:rPr lang="en-US" sz="2800" dirty="0">
                <a:ea typeface="MS PGothic" pitchFamily="34" charset="-128"/>
              </a:rPr>
              <a:t>Significant money savings</a:t>
            </a:r>
          </a:p>
          <a:p>
            <a:pPr marL="1200150" lvl="1" indent="-457200" defTabSz="457200" eaLnBrk="0" hangingPunct="0">
              <a:spcBef>
                <a:spcPct val="30000"/>
              </a:spcBef>
              <a:buFont typeface="Arial" panose="020B0604020202020204" pitchFamily="34" charset="0"/>
              <a:buChar char="•"/>
              <a:defRPr/>
            </a:pPr>
            <a:r>
              <a:rPr lang="en-US" sz="2400" dirty="0">
                <a:ea typeface="MS PGothic" pitchFamily="34" charset="-128"/>
              </a:rPr>
              <a:t>$33.2 million avoided in water purchases (1991-1997)</a:t>
            </a:r>
          </a:p>
          <a:p>
            <a:pPr marL="1200150" lvl="1" indent="-457200" defTabSz="457200" eaLnBrk="0" hangingPunct="0">
              <a:spcBef>
                <a:spcPct val="30000"/>
              </a:spcBef>
              <a:buFont typeface="Arial" panose="020B0604020202020204" pitchFamily="34" charset="0"/>
              <a:buChar char="•"/>
              <a:defRPr/>
            </a:pPr>
            <a:r>
              <a:rPr lang="en-US" sz="2400" dirty="0">
                <a:ea typeface="MS PGothic" pitchFamily="34" charset="-128"/>
              </a:rPr>
              <a:t>$5 million invested in conservation programs</a:t>
            </a:r>
          </a:p>
          <a:p>
            <a:pPr marL="457200" indent="-457200" defTabSz="457200" eaLnBrk="0" hangingPunct="0">
              <a:spcBef>
                <a:spcPct val="30000"/>
              </a:spcBef>
              <a:buFont typeface="Arial" panose="020B0604020202020204" pitchFamily="34" charset="0"/>
              <a:buChar char="•"/>
              <a:defRPr/>
            </a:pPr>
            <a:r>
              <a:rPr lang="en-US" sz="2800" dirty="0">
                <a:ea typeface="MS PGothic" pitchFamily="34" charset="-128"/>
              </a:rPr>
              <a:t>Fewer than 3% of residential customers currently pay the highest tiers’ charges in any given month.</a:t>
            </a:r>
          </a:p>
          <a:p>
            <a:pPr marL="457200" indent="-457200" defTabSz="457200" eaLnBrk="0" hangingPunct="0">
              <a:spcBef>
                <a:spcPct val="30000"/>
              </a:spcBef>
              <a:buFont typeface="Arial" panose="020B0604020202020204" pitchFamily="34" charset="0"/>
              <a:buChar char="•"/>
              <a:defRPr/>
            </a:pPr>
            <a:r>
              <a:rPr lang="en-US" sz="2800" dirty="0">
                <a:ea typeface="MS PGothic" pitchFamily="34" charset="-128"/>
              </a:rPr>
              <a:t>Customer service rating of “excellent” from 87.1% of surveyed customers.</a:t>
            </a:r>
          </a:p>
          <a:p>
            <a:pPr marL="457200" lvl="0" indent="-457200" defTabSz="457200" eaLnBrk="0" hangingPunct="0">
              <a:spcBef>
                <a:spcPct val="30000"/>
              </a:spcBef>
              <a:buFont typeface="Arial" panose="020B0604020202020204" pitchFamily="34" charset="0"/>
              <a:buChar char="•"/>
              <a:defRPr/>
            </a:pPr>
            <a:endParaRPr lang="en-US" sz="2800" dirty="0">
              <a:ea typeface="MS PGothic" pitchFamily="34" charset="-128"/>
            </a:endParaRPr>
          </a:p>
          <a:p>
            <a:pPr marL="457200" indent="-457200">
              <a:buFont typeface="Arial" panose="020B0604020202020204" pitchFamily="34" charset="0"/>
              <a:buChar char="•"/>
            </a:pPr>
            <a:endParaRPr lang="en-US" dirty="0"/>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15</a:t>
            </a:fld>
            <a:endParaRPr lang="en-US" dirty="0"/>
          </a:p>
        </p:txBody>
      </p:sp>
    </p:spTree>
    <p:extLst>
      <p:ext uri="{BB962C8B-B14F-4D97-AF65-F5344CB8AC3E}">
        <p14:creationId xmlns:p14="http://schemas.microsoft.com/office/powerpoint/2010/main" val="36274209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WRD: Drought-proofing</a:t>
            </a:r>
          </a:p>
        </p:txBody>
      </p:sp>
      <p:sp>
        <p:nvSpPr>
          <p:cNvPr id="3" name="Content Placeholder 2"/>
          <p:cNvSpPr>
            <a:spLocks noGrp="1"/>
          </p:cNvSpPr>
          <p:nvPr>
            <p:ph sz="quarter" idx="12"/>
          </p:nvPr>
        </p:nvSpPr>
        <p:spPr/>
        <p:txBody>
          <a:bodyPr/>
          <a:lstStyle/>
          <a:p>
            <a:endParaRPr lang="en-US"/>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16</a:t>
            </a:fld>
            <a:endParaRPr lang="en-US" dirty="0"/>
          </a:p>
        </p:txBody>
      </p:sp>
      <p:pic>
        <p:nvPicPr>
          <p:cNvPr id="5" name="Picture 4"/>
          <p:cNvPicPr/>
          <p:nvPr/>
        </p:nvPicPr>
        <p:blipFill rotWithShape="1">
          <a:blip r:embed="rId3"/>
          <a:srcRect l="14102" t="23456" r="16827" b="3769"/>
          <a:stretch/>
        </p:blipFill>
        <p:spPr bwMode="auto">
          <a:xfrm>
            <a:off x="457200" y="1448563"/>
            <a:ext cx="8149590" cy="457546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203266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ter Banking:</a:t>
            </a:r>
          </a:p>
        </p:txBody>
      </p:sp>
      <p:sp>
        <p:nvSpPr>
          <p:cNvPr id="3" name="Text Placeholder 2"/>
          <p:cNvSpPr>
            <a:spLocks noGrp="1"/>
          </p:cNvSpPr>
          <p:nvPr>
            <p:ph type="body" sz="quarter" idx="13"/>
          </p:nvPr>
        </p:nvSpPr>
        <p:spPr/>
        <p:txBody>
          <a:bodyPr/>
          <a:lstStyle/>
          <a:p>
            <a:pPr marL="0" indent="0">
              <a:buNone/>
            </a:pPr>
            <a:r>
              <a:rPr lang="en-US" dirty="0"/>
              <a:t>Kern County</a:t>
            </a:r>
          </a:p>
        </p:txBody>
      </p:sp>
    </p:spTree>
    <p:extLst>
      <p:ext uri="{BB962C8B-B14F-4D97-AF65-F5344CB8AC3E}">
        <p14:creationId xmlns:p14="http://schemas.microsoft.com/office/powerpoint/2010/main" val="9348245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14437"/>
            <a:ext cx="8229600" cy="709612"/>
          </a:xfrm>
        </p:spPr>
        <p:txBody>
          <a:bodyPr/>
          <a:lstStyle/>
          <a:p>
            <a:r>
              <a:rPr lang="en-US" dirty="0"/>
              <a:t>Kern County</a:t>
            </a:r>
          </a:p>
        </p:txBody>
      </p:sp>
      <p:pic>
        <p:nvPicPr>
          <p:cNvPr id="15" name="Picture 14"/>
          <p:cNvPicPr>
            <a:picLocks noChangeAspect="1"/>
          </p:cNvPicPr>
          <p:nvPr/>
        </p:nvPicPr>
        <p:blipFill>
          <a:blip r:embed="rId3"/>
          <a:stretch>
            <a:fillRect/>
          </a:stretch>
        </p:blipFill>
        <p:spPr>
          <a:xfrm>
            <a:off x="194692" y="1288793"/>
            <a:ext cx="6740497" cy="4191688"/>
          </a:xfrm>
          <a:prstGeom prst="rect">
            <a:avLst/>
          </a:prstGeom>
        </p:spPr>
      </p:pic>
      <p:sp>
        <p:nvSpPr>
          <p:cNvPr id="24" name="TextBox 23"/>
          <p:cNvSpPr txBox="1"/>
          <p:nvPr/>
        </p:nvSpPr>
        <p:spPr>
          <a:xfrm>
            <a:off x="653143" y="4904510"/>
            <a:ext cx="8193974" cy="1815882"/>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2000" b="0" dirty="0">
                <a:solidFill>
                  <a:srgbClr val="021F43"/>
                </a:solidFill>
                <a:latin typeface="Arial" panose="020B0604020202020204" pitchFamily="34" charset="0"/>
                <a:ea typeface="+mn-ea"/>
                <a:cs typeface="Arial" panose="020B0604020202020204" pitchFamily="34" charset="0"/>
              </a:rPr>
              <a:t>Kern County is located close to the California Aqueduct, the Kern River and the federal Friant-Kern Canal</a:t>
            </a:r>
          </a:p>
          <a:p>
            <a:pPr marL="285750" indent="-285750">
              <a:spcAft>
                <a:spcPts val="600"/>
              </a:spcAft>
              <a:buFont typeface="Arial" panose="020B0604020202020204" pitchFamily="34" charset="0"/>
              <a:buChar char="•"/>
            </a:pPr>
            <a:r>
              <a:rPr lang="en-US" sz="2000" b="0" dirty="0">
                <a:solidFill>
                  <a:srgbClr val="021F43"/>
                </a:solidFill>
                <a:latin typeface="Arial" panose="020B0604020202020204" pitchFamily="34" charset="0"/>
                <a:ea typeface="+mn-ea"/>
                <a:cs typeface="Arial" panose="020B0604020202020204" pitchFamily="34" charset="0"/>
              </a:rPr>
              <a:t>Aquifer is closed and unconfined, with very high transmissivity</a:t>
            </a:r>
          </a:p>
          <a:p>
            <a:pPr marL="742950" lvl="1" indent="-285750">
              <a:spcAft>
                <a:spcPts val="600"/>
              </a:spcAft>
              <a:buFont typeface="Arial" panose="020B0604020202020204" pitchFamily="34" charset="0"/>
              <a:buChar char="•"/>
            </a:pPr>
            <a:r>
              <a:rPr lang="en-US" sz="1800" b="0" dirty="0">
                <a:solidFill>
                  <a:srgbClr val="139AF0"/>
                </a:solidFill>
                <a:latin typeface="Arial" panose="020B0604020202020204" pitchFamily="34" charset="0"/>
                <a:ea typeface="+mn-ea"/>
                <a:cs typeface="Arial" panose="020B0604020202020204" pitchFamily="34" charset="0"/>
              </a:rPr>
              <a:t>50-70% sand and percolation rates of several inches a day</a:t>
            </a:r>
          </a:p>
          <a:p>
            <a:pPr marL="285750" indent="-285750">
              <a:spcAft>
                <a:spcPts val="600"/>
              </a:spcAft>
              <a:buFont typeface="Arial" panose="020B0604020202020204" pitchFamily="34" charset="0"/>
              <a:buChar char="•"/>
            </a:pPr>
            <a:endParaRPr lang="en-US" sz="1900" b="0" dirty="0">
              <a:latin typeface="+mn-lt"/>
            </a:endParaRPr>
          </a:p>
        </p:txBody>
      </p:sp>
      <p:sp>
        <p:nvSpPr>
          <p:cNvPr id="25" name="TextBox 24"/>
          <p:cNvSpPr txBox="1"/>
          <p:nvPr/>
        </p:nvSpPr>
        <p:spPr>
          <a:xfrm>
            <a:off x="6894876" y="1761581"/>
            <a:ext cx="2208810" cy="2800767"/>
          </a:xfrm>
          <a:prstGeom prst="rect">
            <a:avLst/>
          </a:prstGeom>
          <a:noFill/>
        </p:spPr>
        <p:txBody>
          <a:bodyPr wrap="square" rtlCol="0">
            <a:spAutoFit/>
          </a:bodyPr>
          <a:lstStyle/>
          <a:p>
            <a:pPr algn="ctr"/>
            <a:r>
              <a:rPr lang="en-US" b="0" dirty="0"/>
              <a:t>9 water banking operations</a:t>
            </a:r>
          </a:p>
          <a:p>
            <a:pPr algn="ctr"/>
            <a:r>
              <a:rPr lang="en-US" b="0" dirty="0">
                <a:solidFill>
                  <a:srgbClr val="021F43"/>
                </a:solidFill>
                <a:latin typeface="Arial" panose="020B0604020202020204" pitchFamily="34" charset="0"/>
                <a:cs typeface="Arial" panose="020B0604020202020204" pitchFamily="34" charset="0"/>
              </a:rPr>
              <a:t>The three largest water banks—Arvin-Edison, Kern and </a:t>
            </a:r>
            <a:r>
              <a:rPr lang="en-US" b="0" dirty="0" err="1">
                <a:solidFill>
                  <a:srgbClr val="021F43"/>
                </a:solidFill>
                <a:latin typeface="Arial" panose="020B0604020202020204" pitchFamily="34" charset="0"/>
                <a:cs typeface="Arial" panose="020B0604020202020204" pitchFamily="34" charset="0"/>
              </a:rPr>
              <a:t>Semitropic</a:t>
            </a:r>
            <a:r>
              <a:rPr lang="en-US" b="0" dirty="0">
                <a:solidFill>
                  <a:srgbClr val="021F43"/>
                </a:solidFill>
                <a:latin typeface="Arial" panose="020B0604020202020204" pitchFamily="34" charset="0"/>
                <a:cs typeface="Arial" panose="020B0604020202020204" pitchFamily="34" charset="0"/>
              </a:rPr>
              <a:t>—have a combined storage capacity of about 3,300 Mm</a:t>
            </a:r>
            <a:r>
              <a:rPr lang="en-US" b="0" baseline="30000" dirty="0">
                <a:solidFill>
                  <a:srgbClr val="021F43"/>
                </a:solidFill>
                <a:latin typeface="Arial" panose="020B0604020202020204" pitchFamily="34" charset="0"/>
                <a:cs typeface="Arial" panose="020B0604020202020204" pitchFamily="34" charset="0"/>
              </a:rPr>
              <a:t>3</a:t>
            </a:r>
          </a:p>
          <a:p>
            <a:pPr algn="ctr"/>
            <a:endParaRPr lang="en-US" b="0" dirty="0"/>
          </a:p>
          <a:p>
            <a:pPr algn="ctr"/>
            <a:endParaRPr lang="en-US" dirty="0"/>
          </a:p>
        </p:txBody>
      </p:sp>
    </p:spTree>
    <p:extLst>
      <p:ext uri="{BB962C8B-B14F-4D97-AF65-F5344CB8AC3E}">
        <p14:creationId xmlns:p14="http://schemas.microsoft.com/office/powerpoint/2010/main" val="15227501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fornia water – where does it come from?</a:t>
            </a:r>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1</a:t>
            </a:fld>
            <a:endParaRPr lang="en-US" dirty="0"/>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t="5723"/>
          <a:stretch/>
        </p:blipFill>
        <p:spPr>
          <a:xfrm>
            <a:off x="-40392" y="1235086"/>
            <a:ext cx="4338370" cy="5622914"/>
          </a:xfrm>
          <a:prstGeom prst="rect">
            <a:avLst/>
          </a:prstGeom>
        </p:spPr>
      </p:pic>
      <p:pic>
        <p:nvPicPr>
          <p:cNvPr id="9" name="Content Placeholder 8"/>
          <p:cNvPicPr>
            <a:picLocks noGrp="1" noChangeAspect="1"/>
          </p:cNvPicPr>
          <p:nvPr>
            <p:ph sz="quarter" idx="12"/>
          </p:nvPr>
        </p:nvPicPr>
        <p:blipFill rotWithShape="1">
          <a:blip r:embed="rId4">
            <a:extLst>
              <a:ext uri="{28A0092B-C50C-407E-A947-70E740481C1C}">
                <a14:useLocalDpi xmlns:a14="http://schemas.microsoft.com/office/drawing/2010/main" val="0"/>
              </a:ext>
            </a:extLst>
          </a:blip>
          <a:srcRect t="7010"/>
          <a:stretch/>
        </p:blipFill>
        <p:spPr>
          <a:xfrm>
            <a:off x="4487823" y="1303666"/>
            <a:ext cx="4515508" cy="5534680"/>
          </a:xfrm>
        </p:spPr>
      </p:pic>
    </p:spTree>
    <p:extLst>
      <p:ext uri="{BB962C8B-B14F-4D97-AF65-F5344CB8AC3E}">
        <p14:creationId xmlns:p14="http://schemas.microsoft.com/office/powerpoint/2010/main" val="3972244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ter Banking basics</a:t>
            </a:r>
          </a:p>
        </p:txBody>
      </p:sp>
      <p:sp>
        <p:nvSpPr>
          <p:cNvPr id="3" name="Content Placeholder 2"/>
          <p:cNvSpPr>
            <a:spLocks noGrp="1"/>
          </p:cNvSpPr>
          <p:nvPr>
            <p:ph sz="quarter" idx="12"/>
          </p:nvPr>
        </p:nvSpPr>
        <p:spPr>
          <a:xfrm>
            <a:off x="457200" y="1448563"/>
            <a:ext cx="8229600" cy="4849050"/>
          </a:xfrm>
        </p:spPr>
        <p:txBody>
          <a:bodyPr>
            <a:normAutofit/>
          </a:bodyPr>
          <a:lstStyle/>
          <a:p>
            <a:pPr marL="457200" indent="-457200">
              <a:buFont typeface="Arial" panose="020B0604020202020204" pitchFamily="34" charset="0"/>
              <a:buChar char="•"/>
            </a:pPr>
            <a:r>
              <a:rPr lang="en-US" dirty="0"/>
              <a:t>In wet years, participating banking partners deliver their surplus water to </a:t>
            </a:r>
            <a:r>
              <a:rPr lang="en-US" dirty="0" err="1"/>
              <a:t>Semitropic</a:t>
            </a:r>
            <a:r>
              <a:rPr lang="en-US" dirty="0"/>
              <a:t> or other bank. </a:t>
            </a:r>
          </a:p>
          <a:p>
            <a:pPr marL="1200150" lvl="1" indent="-457200">
              <a:buFont typeface="Arial" panose="020B0604020202020204" pitchFamily="34" charset="0"/>
              <a:buChar char="•"/>
            </a:pPr>
            <a:r>
              <a:rPr lang="en-US" dirty="0"/>
              <a:t>Direct recharge</a:t>
            </a:r>
          </a:p>
          <a:p>
            <a:pPr marL="1200150" lvl="1" indent="-457200">
              <a:buFont typeface="Arial" panose="020B0604020202020204" pitchFamily="34" charset="0"/>
              <a:buChar char="•"/>
            </a:pPr>
            <a:r>
              <a:rPr lang="en-US" dirty="0"/>
              <a:t>In-lieu recharge</a:t>
            </a:r>
          </a:p>
          <a:p>
            <a:pPr marL="457200" indent="-457200">
              <a:buFont typeface="Arial" panose="020B0604020202020204" pitchFamily="34" charset="0"/>
              <a:buChar char="•"/>
            </a:pPr>
            <a:r>
              <a:rPr lang="en-US" dirty="0"/>
              <a:t>Stored water is returned to the California Aqueduct for use </a:t>
            </a:r>
          </a:p>
          <a:p>
            <a:pPr marL="1200150" lvl="1" indent="-457200">
              <a:buFont typeface="Arial" panose="020B0604020202020204" pitchFamily="34" charset="0"/>
              <a:buChar char="•"/>
            </a:pPr>
            <a:r>
              <a:rPr lang="en-US" dirty="0"/>
              <a:t>By exchanging its entitlement </a:t>
            </a:r>
          </a:p>
          <a:p>
            <a:pPr marL="1200150" lvl="1" indent="-457200">
              <a:buFont typeface="Arial" panose="020B0604020202020204" pitchFamily="34" charset="0"/>
              <a:buChar char="•"/>
            </a:pPr>
            <a:r>
              <a:rPr lang="en-US" dirty="0"/>
              <a:t>By reversing the intake facility, which is called “</a:t>
            </a:r>
            <a:r>
              <a:rPr lang="en-US" dirty="0" err="1"/>
              <a:t>pumpback</a:t>
            </a:r>
            <a:r>
              <a:rPr lang="en-US" dirty="0"/>
              <a:t>.” </a:t>
            </a:r>
          </a:p>
          <a:p>
            <a:pPr marL="457200" indent="-457200">
              <a:buFont typeface="Arial" panose="020B0604020202020204" pitchFamily="34" charset="0"/>
              <a:buChar char="•"/>
            </a:pPr>
            <a:r>
              <a:rPr lang="en-US" dirty="0"/>
              <a:t>The state then delivers the water to the banking partners.</a:t>
            </a:r>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19</a:t>
            </a:fld>
            <a:endParaRPr lang="en-US" dirty="0"/>
          </a:p>
        </p:txBody>
      </p:sp>
    </p:spTree>
    <p:extLst>
      <p:ext uri="{BB962C8B-B14F-4D97-AF65-F5344CB8AC3E}">
        <p14:creationId xmlns:p14="http://schemas.microsoft.com/office/powerpoint/2010/main" val="23924998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ter banking arrangements</a:t>
            </a:r>
          </a:p>
        </p:txBody>
      </p:sp>
      <p:sp>
        <p:nvSpPr>
          <p:cNvPr id="3" name="Content Placeholder 2"/>
          <p:cNvSpPr>
            <a:spLocks noGrp="1"/>
          </p:cNvSpPr>
          <p:nvPr>
            <p:ph sz="quarter" idx="12"/>
          </p:nvPr>
        </p:nvSpPr>
        <p:spPr>
          <a:xfrm>
            <a:off x="457200" y="1448563"/>
            <a:ext cx="8229600" cy="5059115"/>
          </a:xfrm>
        </p:spPr>
        <p:txBody>
          <a:bodyPr>
            <a:normAutofit/>
          </a:bodyPr>
          <a:lstStyle/>
          <a:p>
            <a:pPr marL="457200" indent="-457200">
              <a:buFont typeface="Arial" panose="020B0604020202020204" pitchFamily="34" charset="0"/>
              <a:buChar char="•"/>
            </a:pPr>
            <a:r>
              <a:rPr lang="en-US" dirty="0"/>
              <a:t>Financial arrangement compensate the district</a:t>
            </a:r>
          </a:p>
          <a:p>
            <a:pPr marL="1200150" lvl="1" indent="-457200">
              <a:buFont typeface="Arial" panose="020B0604020202020204" pitchFamily="34" charset="0"/>
              <a:buChar char="•"/>
            </a:pPr>
            <a:r>
              <a:rPr lang="en-US" dirty="0"/>
              <a:t>Full compensation to store and return water</a:t>
            </a:r>
          </a:p>
          <a:p>
            <a:pPr marL="1200150" lvl="1" indent="-457200">
              <a:buFont typeface="Arial" panose="020B0604020202020204" pitchFamily="34" charset="0"/>
              <a:buChar char="•"/>
            </a:pPr>
            <a:r>
              <a:rPr lang="en-US" dirty="0"/>
              <a:t>Energy costs for delivery</a:t>
            </a:r>
          </a:p>
          <a:p>
            <a:pPr marL="1200150" lvl="1" indent="-457200">
              <a:buFont typeface="Arial" panose="020B0604020202020204" pitchFamily="34" charset="0"/>
              <a:buChar char="•"/>
            </a:pPr>
            <a:r>
              <a:rPr lang="en-US" dirty="0"/>
              <a:t>Operation and maintenance costs</a:t>
            </a:r>
          </a:p>
          <a:p>
            <a:pPr marL="457200" indent="-457200">
              <a:buFont typeface="Arial" panose="020B0604020202020204" pitchFamily="34" charset="0"/>
              <a:buChar char="•"/>
            </a:pPr>
            <a:r>
              <a:rPr lang="en-US" dirty="0"/>
              <a:t>Districts have contracts with landowners to use their wells with compensation</a:t>
            </a:r>
          </a:p>
          <a:p>
            <a:pPr marL="457200" indent="-457200">
              <a:buFont typeface="Arial" panose="020B0604020202020204" pitchFamily="34" charset="0"/>
              <a:buChar char="•"/>
            </a:pPr>
            <a:r>
              <a:rPr lang="en-US" dirty="0"/>
              <a:t>Fees also cover development of new infrastructure for banking</a:t>
            </a:r>
          </a:p>
          <a:p>
            <a:pPr marL="457200" indent="-457200">
              <a:buFont typeface="Arial" panose="020B0604020202020204" pitchFamily="34" charset="0"/>
              <a:buChar char="•"/>
            </a:pPr>
            <a:r>
              <a:rPr lang="en-US" dirty="0"/>
              <a:t>Challenges have included the perception of privatizing public assets, impacts on nearby properties and water quality (delivered vs stored)</a:t>
            </a:r>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20</a:t>
            </a:fld>
            <a:endParaRPr lang="en-US" dirty="0"/>
          </a:p>
        </p:txBody>
      </p:sp>
    </p:spTree>
    <p:extLst>
      <p:ext uri="{BB962C8B-B14F-4D97-AF65-F5344CB8AC3E}">
        <p14:creationId xmlns:p14="http://schemas.microsoft.com/office/powerpoint/2010/main" val="28927774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riculture to Urban Transfer:</a:t>
            </a:r>
          </a:p>
        </p:txBody>
      </p:sp>
      <p:sp>
        <p:nvSpPr>
          <p:cNvPr id="3" name="Text Placeholder 2"/>
          <p:cNvSpPr>
            <a:spLocks noGrp="1"/>
          </p:cNvSpPr>
          <p:nvPr>
            <p:ph type="body" sz="quarter" idx="13"/>
          </p:nvPr>
        </p:nvSpPr>
        <p:spPr/>
        <p:txBody>
          <a:bodyPr/>
          <a:lstStyle/>
          <a:p>
            <a:pPr marL="0" indent="0">
              <a:buNone/>
            </a:pPr>
            <a:r>
              <a:rPr lang="en-US" dirty="0"/>
              <a:t>San Diego County Water Authority</a:t>
            </a:r>
          </a:p>
        </p:txBody>
      </p:sp>
    </p:spTree>
    <p:extLst>
      <p:ext uri="{BB962C8B-B14F-4D97-AF65-F5344CB8AC3E}">
        <p14:creationId xmlns:p14="http://schemas.microsoft.com/office/powerpoint/2010/main" val="41241160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n Diego County Water Authority</a:t>
            </a:r>
          </a:p>
        </p:txBody>
      </p:sp>
      <p:pic>
        <p:nvPicPr>
          <p:cNvPr id="20" name="Picture 19"/>
          <p:cNvPicPr>
            <a:picLocks noChangeAspect="1"/>
          </p:cNvPicPr>
          <p:nvPr/>
        </p:nvPicPr>
        <p:blipFill>
          <a:blip r:embed="rId2"/>
          <a:stretch>
            <a:fillRect/>
          </a:stretch>
        </p:blipFill>
        <p:spPr>
          <a:xfrm>
            <a:off x="228600" y="1324557"/>
            <a:ext cx="4852837" cy="4877223"/>
          </a:xfrm>
          <a:prstGeom prst="rect">
            <a:avLst/>
          </a:prstGeom>
        </p:spPr>
      </p:pic>
      <p:sp>
        <p:nvSpPr>
          <p:cNvPr id="3" name="Text Placeholder 2"/>
          <p:cNvSpPr>
            <a:spLocks noGrp="1"/>
          </p:cNvSpPr>
          <p:nvPr>
            <p:ph type="body" sz="quarter" idx="11"/>
          </p:nvPr>
        </p:nvSpPr>
        <p:spPr>
          <a:xfrm>
            <a:off x="2576945" y="1466850"/>
            <a:ext cx="6109856" cy="4592638"/>
          </a:xfrm>
        </p:spPr>
        <p:txBody>
          <a:bodyPr/>
          <a:lstStyle/>
          <a:p>
            <a:r>
              <a:rPr lang="en-US" dirty="0"/>
              <a:t>Water wholesaler to SD County</a:t>
            </a:r>
          </a:p>
          <a:p>
            <a:pPr lvl="1"/>
            <a:r>
              <a:rPr lang="en-US" dirty="0"/>
              <a:t>24 member agencies</a:t>
            </a:r>
          </a:p>
          <a:p>
            <a:r>
              <a:rPr lang="en-US" dirty="0"/>
              <a:t>Strategy of source diversification</a:t>
            </a:r>
          </a:p>
        </p:txBody>
      </p:sp>
      <p:sp>
        <p:nvSpPr>
          <p:cNvPr id="4" name="Slide Number Placeholder 3"/>
          <p:cNvSpPr>
            <a:spLocks noGrp="1"/>
          </p:cNvSpPr>
          <p:nvPr>
            <p:ph type="sldNum" sz="quarter" idx="12"/>
          </p:nvPr>
        </p:nvSpPr>
        <p:spPr/>
        <p:txBody>
          <a:bodyPr/>
          <a:lstStyle/>
          <a:p>
            <a:pPr>
              <a:defRPr/>
            </a:pPr>
            <a:fld id="{BABDA2C9-8AAE-48C1-9A9C-504D4F21DCD1}" type="slidenum">
              <a:rPr lang="en-US" smtClean="0"/>
              <a:pPr>
                <a:defRPr/>
              </a:pPr>
              <a:t>22</a:t>
            </a:fld>
            <a:endParaRPr lang="en-US" dirty="0"/>
          </a:p>
        </p:txBody>
      </p:sp>
      <p:sp>
        <p:nvSpPr>
          <p:cNvPr id="21" name="Oval 20"/>
          <p:cNvSpPr/>
          <p:nvPr/>
        </p:nvSpPr>
        <p:spPr>
          <a:xfrm>
            <a:off x="2481943" y="5581403"/>
            <a:ext cx="1615044" cy="8987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4773878" y="2826330"/>
            <a:ext cx="4286991" cy="2419124"/>
          </a:xfrm>
          <a:prstGeom prst="rect">
            <a:avLst/>
          </a:prstGeom>
          <a:noFill/>
        </p:spPr>
        <p:txBody>
          <a:bodyPr wrap="square" rtlCol="0">
            <a:spAutoFit/>
          </a:bodyPr>
          <a:lstStyle/>
          <a:p>
            <a:pPr marL="457200" lvl="0" indent="-457200" eaLnBrk="1" fontAlgn="auto" hangingPunct="1">
              <a:spcBef>
                <a:spcPct val="20000"/>
              </a:spcBef>
              <a:spcAft>
                <a:spcPts val="0"/>
              </a:spcAft>
              <a:buFont typeface="Arial" panose="020B0604020202020204" pitchFamily="34" charset="0"/>
              <a:buChar char="•"/>
            </a:pPr>
            <a:r>
              <a:rPr lang="en-US" sz="2600" b="0" dirty="0">
                <a:solidFill>
                  <a:srgbClr val="021F43"/>
                </a:solidFill>
                <a:latin typeface="Arial" panose="020B0604020202020204" pitchFamily="34" charset="0"/>
                <a:ea typeface="+mn-ea"/>
                <a:cs typeface="Arial" panose="020B0604020202020204" pitchFamily="34" charset="0"/>
              </a:rPr>
              <a:t>Quantification Settlement Agreement is signed in 2003.</a:t>
            </a:r>
          </a:p>
          <a:p>
            <a:pPr marL="457200" lvl="0" indent="-457200" eaLnBrk="1" fontAlgn="auto" hangingPunct="1">
              <a:spcBef>
                <a:spcPct val="20000"/>
              </a:spcBef>
              <a:spcAft>
                <a:spcPts val="0"/>
              </a:spcAft>
              <a:buFont typeface="Arial" panose="020B0604020202020204" pitchFamily="34" charset="0"/>
              <a:buChar char="•"/>
            </a:pPr>
            <a:r>
              <a:rPr lang="en-US" sz="2600" b="0" dirty="0">
                <a:solidFill>
                  <a:srgbClr val="021F43"/>
                </a:solidFill>
                <a:latin typeface="Arial" panose="020B0604020202020204" pitchFamily="34" charset="0"/>
                <a:ea typeface="+mn-ea"/>
                <a:cs typeface="Arial" panose="020B0604020202020204" pitchFamily="34" charset="0"/>
              </a:rPr>
              <a:t>Largest ag-to-urban transfer in the US</a:t>
            </a:r>
          </a:p>
          <a:p>
            <a:endParaRPr lang="en-US" dirty="0"/>
          </a:p>
        </p:txBody>
      </p:sp>
    </p:spTree>
    <p:extLst>
      <p:ext uri="{BB962C8B-B14F-4D97-AF65-F5344CB8AC3E}">
        <p14:creationId xmlns:p14="http://schemas.microsoft.com/office/powerpoint/2010/main" val="11110511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Quantification Settlement Agreement</a:t>
            </a:r>
          </a:p>
        </p:txBody>
      </p:sp>
      <p:sp>
        <p:nvSpPr>
          <p:cNvPr id="3" name="Content Placeholder 2"/>
          <p:cNvSpPr>
            <a:spLocks noGrp="1"/>
          </p:cNvSpPr>
          <p:nvPr>
            <p:ph sz="quarter" idx="12"/>
          </p:nvPr>
        </p:nvSpPr>
        <p:spPr>
          <a:xfrm>
            <a:off x="457200" y="1448564"/>
            <a:ext cx="8229600" cy="3040310"/>
          </a:xfrm>
        </p:spPr>
        <p:txBody>
          <a:bodyPr>
            <a:normAutofit fontScale="85000" lnSpcReduction="10000"/>
          </a:bodyPr>
          <a:lstStyle/>
          <a:p>
            <a:pPr marL="457200" indent="-457200">
              <a:buFont typeface="Arial" panose="020B0604020202020204" pitchFamily="34" charset="0"/>
              <a:buChar char="•"/>
            </a:pPr>
            <a:r>
              <a:rPr lang="en-US" dirty="0"/>
              <a:t>SDCWA purchases 247 Mm</a:t>
            </a:r>
            <a:r>
              <a:rPr lang="en-US" baseline="30000" dirty="0"/>
              <a:t>3</a:t>
            </a:r>
            <a:r>
              <a:rPr lang="en-US" dirty="0"/>
              <a:t>/year of water from Imperial Irrigation District (IID) for up to 75 years</a:t>
            </a:r>
          </a:p>
          <a:p>
            <a:pPr marL="1200150" lvl="1" indent="-457200">
              <a:buFont typeface="Arial" panose="020B0604020202020204" pitchFamily="34" charset="0"/>
              <a:buChar char="•"/>
            </a:pPr>
            <a:r>
              <a:rPr lang="en-US" dirty="0"/>
              <a:t>Increases every year from signing up to 247 Mm</a:t>
            </a:r>
            <a:r>
              <a:rPr lang="en-US" baseline="30000" dirty="0"/>
              <a:t>3</a:t>
            </a:r>
            <a:endParaRPr lang="en-US" dirty="0"/>
          </a:p>
          <a:p>
            <a:pPr marL="457200" indent="-457200">
              <a:buFont typeface="Arial" panose="020B0604020202020204" pitchFamily="34" charset="0"/>
              <a:buChar char="•"/>
            </a:pPr>
            <a:r>
              <a:rPr lang="en-US" dirty="0"/>
              <a:t>IID’s rights to the Colorado River are older and have one of the highest priorities</a:t>
            </a:r>
          </a:p>
          <a:p>
            <a:pPr marL="1200150" lvl="1" indent="-457200">
              <a:buFont typeface="Arial" panose="020B0604020202020204" pitchFamily="34" charset="0"/>
              <a:buChar char="•"/>
            </a:pPr>
            <a:r>
              <a:rPr lang="en-US" dirty="0"/>
              <a:t>And represent the largest annual consumptive use entitlement among the Lower Basin states (70% of the state allocation!)</a:t>
            </a:r>
          </a:p>
          <a:p>
            <a:pPr marL="457200" indent="-457200">
              <a:buFont typeface="Arial" panose="020B0604020202020204" pitchFamily="34" charset="0"/>
              <a:buChar char="•"/>
            </a:pPr>
            <a:r>
              <a:rPr lang="en-US" dirty="0"/>
              <a:t>SDCWA paid for canal repairs to secure ~100 Mm</a:t>
            </a:r>
            <a:r>
              <a:rPr lang="en-US" baseline="30000" dirty="0"/>
              <a:t>3</a:t>
            </a:r>
            <a:r>
              <a:rPr lang="en-US" dirty="0"/>
              <a:t>/year in reduced infiltration</a:t>
            </a:r>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23</a:t>
            </a:fld>
            <a:endParaRPr lang="en-US" dirty="0"/>
          </a:p>
        </p:txBody>
      </p:sp>
      <p:graphicFrame>
        <p:nvGraphicFramePr>
          <p:cNvPr id="6" name="Object 6"/>
          <p:cNvGraphicFramePr>
            <a:graphicFrameLocks noChangeAspect="1"/>
          </p:cNvGraphicFramePr>
          <p:nvPr>
            <p:custDataLst>
              <p:tags r:id="rId2"/>
            </p:custDataLst>
            <p:extLst>
              <p:ext uri="{D42A27DB-BD31-4B8C-83A1-F6EECF244321}">
                <p14:modId xmlns:p14="http://schemas.microsoft.com/office/powerpoint/2010/main" val="3878513937"/>
              </p:ext>
            </p:extLst>
          </p:nvPr>
        </p:nvGraphicFramePr>
        <p:xfrm>
          <a:off x="192971" y="4306786"/>
          <a:ext cx="6562391" cy="2563091"/>
        </p:xfrm>
        <a:graphic>
          <a:graphicData uri="http://schemas.openxmlformats.org/presentationml/2006/ole">
            <mc:AlternateContent xmlns:mc="http://schemas.openxmlformats.org/markup-compatibility/2006">
              <mc:Choice xmlns:v="urn:schemas-microsoft-com:vml" Requires="v">
                <p:oleObj spid="_x0000_s1035" r:id="rId4" imgW="7730398" imgH="3170195" progId="Excel.Sheet.8">
                  <p:embed/>
                </p:oleObj>
              </mc:Choice>
              <mc:Fallback>
                <p:oleObj r:id="rId4" imgW="7730398" imgH="3170195" progId="Excel.Sheet.8">
                  <p:embed/>
                  <p:pic>
                    <p:nvPicPr>
                      <p:cNvPr id="12"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971" y="4306786"/>
                        <a:ext cx="6562391" cy="2563091"/>
                      </a:xfrm>
                      <a:prstGeom prst="rect">
                        <a:avLst/>
                      </a:prstGeom>
                      <a:solidFill>
                        <a:schemeClr val="bg1"/>
                      </a:solidFill>
                    </p:spPr>
                  </p:pic>
                </p:oleObj>
              </mc:Fallback>
            </mc:AlternateContent>
          </a:graphicData>
        </a:graphic>
      </p:graphicFrame>
    </p:spTree>
    <p:extLst>
      <p:ext uri="{BB962C8B-B14F-4D97-AF65-F5344CB8AC3E}">
        <p14:creationId xmlns:p14="http://schemas.microsoft.com/office/powerpoint/2010/main" val="13042816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id it work?</a:t>
            </a:r>
          </a:p>
        </p:txBody>
      </p:sp>
      <p:sp>
        <p:nvSpPr>
          <p:cNvPr id="3" name="Content Placeholder 2"/>
          <p:cNvSpPr>
            <a:spLocks noGrp="1"/>
          </p:cNvSpPr>
          <p:nvPr>
            <p:ph sz="quarter" idx="12"/>
          </p:nvPr>
        </p:nvSpPr>
        <p:spPr>
          <a:xfrm>
            <a:off x="457200" y="1317938"/>
            <a:ext cx="8229600" cy="5094741"/>
          </a:xfrm>
        </p:spPr>
        <p:txBody>
          <a:bodyPr>
            <a:normAutofit/>
          </a:bodyPr>
          <a:lstStyle/>
          <a:p>
            <a:pPr marL="457200" indent="-457200">
              <a:buFont typeface="Arial" panose="020B0604020202020204" pitchFamily="34" charset="0"/>
              <a:buChar char="•"/>
            </a:pPr>
            <a:r>
              <a:rPr lang="en-US" dirty="0"/>
              <a:t>IID was found to be “wasting water,” which is illegal by CA water rights law</a:t>
            </a:r>
          </a:p>
          <a:p>
            <a:pPr marL="1200150" lvl="1" indent="-457200">
              <a:buFont typeface="Arial" panose="020B0604020202020204" pitchFamily="34" charset="0"/>
              <a:buChar char="•"/>
            </a:pPr>
            <a:r>
              <a:rPr lang="en-US" dirty="0"/>
              <a:t>IID has to implement water saving measures to reduce its use as of 2003</a:t>
            </a:r>
          </a:p>
          <a:p>
            <a:pPr marL="457200" indent="-457200">
              <a:buFont typeface="Arial" panose="020B0604020202020204" pitchFamily="34" charset="0"/>
              <a:buChar char="•"/>
            </a:pPr>
            <a:r>
              <a:rPr lang="en-US" dirty="0"/>
              <a:t>Negotiations were underway to reduce California’s excessive use of Colorado River water</a:t>
            </a:r>
          </a:p>
          <a:p>
            <a:pPr marL="1200150" lvl="1" indent="-457200">
              <a:buFont typeface="Arial" panose="020B0604020202020204" pitchFamily="34" charset="0"/>
              <a:buChar char="•"/>
            </a:pPr>
            <a:r>
              <a:rPr lang="en-US" dirty="0"/>
              <a:t>Plan identified agriculture to urban transfers as key component of the strategy</a:t>
            </a:r>
          </a:p>
          <a:p>
            <a:pPr marL="457200" indent="-457200">
              <a:buFont typeface="Arial" panose="020B0604020202020204" pitchFamily="34" charset="0"/>
              <a:buChar char="•"/>
            </a:pPr>
            <a:r>
              <a:rPr lang="en-US" dirty="0"/>
              <a:t>SDCWA was ready to pay a higher price for the water than agricultural counterparts</a:t>
            </a:r>
          </a:p>
          <a:p>
            <a:pPr marL="457200" indent="-457200">
              <a:buFont typeface="Arial" panose="020B0604020202020204" pitchFamily="34" charset="0"/>
              <a:buChar char="•"/>
            </a:pPr>
            <a:r>
              <a:rPr lang="en-US" dirty="0"/>
              <a:t>Debate around environmental impacts to the Salton Sea, a saline lake mainly fed by IID irrigation runoff</a:t>
            </a:r>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24</a:t>
            </a:fld>
            <a:endParaRPr lang="en-US" dirty="0"/>
          </a:p>
        </p:txBody>
      </p:sp>
    </p:spTree>
    <p:extLst>
      <p:ext uri="{BB962C8B-B14F-4D97-AF65-F5344CB8AC3E}">
        <p14:creationId xmlns:p14="http://schemas.microsoft.com/office/powerpoint/2010/main" val="30022592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plan for IID</a:t>
            </a:r>
          </a:p>
        </p:txBody>
      </p:sp>
      <p:sp>
        <p:nvSpPr>
          <p:cNvPr id="3" name="Text Placeholder 2"/>
          <p:cNvSpPr>
            <a:spLocks noGrp="1"/>
          </p:cNvSpPr>
          <p:nvPr>
            <p:ph type="body"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pPr>
              <a:defRPr/>
            </a:pPr>
            <a:fld id="{BABDA2C9-8AAE-48C1-9A9C-504D4F21DCD1}" type="slidenum">
              <a:rPr lang="en-US" smtClean="0"/>
              <a:pPr>
                <a:defRPr/>
              </a:pPr>
              <a:t>25</a:t>
            </a:fld>
            <a:endParaRPr lang="en-US" dirty="0"/>
          </a:p>
        </p:txBody>
      </p:sp>
      <p:pic>
        <p:nvPicPr>
          <p:cNvPr id="6" name="Picture 5" descr="IID QSA Water Use"/>
          <p:cNvPicPr/>
          <p:nvPr/>
        </p:nvPicPr>
        <p:blipFill>
          <a:blip r:embed="rId3">
            <a:extLst>
              <a:ext uri="{28A0092B-C50C-407E-A947-70E740481C1C}">
                <a14:useLocalDpi xmlns:a14="http://schemas.microsoft.com/office/drawing/2010/main" val="0"/>
              </a:ext>
            </a:extLst>
          </a:blip>
          <a:srcRect/>
          <a:stretch>
            <a:fillRect/>
          </a:stretch>
        </p:blipFill>
        <p:spPr bwMode="auto">
          <a:xfrm>
            <a:off x="228600" y="1270660"/>
            <a:ext cx="8761021" cy="5392078"/>
          </a:xfrm>
          <a:prstGeom prst="rect">
            <a:avLst/>
          </a:prstGeom>
          <a:noFill/>
          <a:ln>
            <a:noFill/>
          </a:ln>
        </p:spPr>
      </p:pic>
    </p:spTree>
    <p:extLst>
      <p:ext uri="{BB962C8B-B14F-4D97-AF65-F5344CB8AC3E}">
        <p14:creationId xmlns:p14="http://schemas.microsoft.com/office/powerpoint/2010/main" val="22744560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a:xfrm>
            <a:off x="1279525" y="2581275"/>
            <a:ext cx="6972300" cy="1108075"/>
          </a:xfrm>
        </p:spPr>
        <p:txBody>
          <a:bodyPr/>
          <a:lstStyle/>
          <a:p>
            <a:pPr>
              <a:spcBef>
                <a:spcPct val="0"/>
              </a:spcBef>
            </a:pPr>
            <a:r>
              <a:rPr lang="es-419" altLang="en-US" sz="4400" dirty="0" err="1"/>
              <a:t>Thank</a:t>
            </a:r>
            <a:r>
              <a:rPr lang="es-419" altLang="en-US" sz="4400" dirty="0"/>
              <a:t> </a:t>
            </a:r>
            <a:r>
              <a:rPr lang="es-419" altLang="en-US" sz="4400" dirty="0" err="1"/>
              <a:t>you</a:t>
            </a:r>
            <a:endParaRPr lang="es-419" altLang="en-US" sz="4400" dirty="0"/>
          </a:p>
        </p:txBody>
      </p:sp>
      <p:sp>
        <p:nvSpPr>
          <p:cNvPr id="3" name="Rectangle 2"/>
          <p:cNvSpPr/>
          <p:nvPr/>
        </p:nvSpPr>
        <p:spPr>
          <a:xfrm>
            <a:off x="5751443" y="-1"/>
            <a:ext cx="3392557" cy="3975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is leads to complex institutions</a:t>
            </a:r>
          </a:p>
        </p:txBody>
      </p:sp>
      <p:pic>
        <p:nvPicPr>
          <p:cNvPr id="5" name="Content Placeholder 4"/>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216712" y="1165871"/>
            <a:ext cx="8710575" cy="5692129"/>
          </a:xfrm>
        </p:spPr>
      </p:pic>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2</a:t>
            </a:fld>
            <a:endParaRPr lang="en-US" dirty="0"/>
          </a:p>
        </p:txBody>
      </p:sp>
    </p:spTree>
    <p:extLst>
      <p:ext uri="{BB962C8B-B14F-4D97-AF65-F5344CB8AC3E}">
        <p14:creationId xmlns:p14="http://schemas.microsoft.com/office/powerpoint/2010/main" val="1376561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Record-Breaking Drought hits California</a:t>
            </a:r>
          </a:p>
        </p:txBody>
      </p:sp>
      <p:pic>
        <p:nvPicPr>
          <p:cNvPr id="5" name="Content Placeholder 4"/>
          <p:cNvPicPr>
            <a:picLocks noGrp="1" noChangeAspect="1"/>
          </p:cNvPicPr>
          <p:nvPr>
            <p:ph sz="quarter" idx="12"/>
          </p:nvPr>
        </p:nvPicPr>
        <p:blipFill rotWithShape="1">
          <a:blip r:embed="rId3">
            <a:extLst>
              <a:ext uri="{28A0092B-C50C-407E-A947-70E740481C1C}">
                <a14:useLocalDpi xmlns:a14="http://schemas.microsoft.com/office/drawing/2010/main" val="0"/>
              </a:ext>
            </a:extLst>
          </a:blip>
          <a:srcRect t="21653" b="12557"/>
          <a:stretch/>
        </p:blipFill>
        <p:spPr>
          <a:xfrm>
            <a:off x="423058" y="1394183"/>
            <a:ext cx="8297883" cy="3712202"/>
          </a:xfrm>
        </p:spPr>
      </p:pic>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3</a:t>
            </a:fld>
            <a:endParaRPr lang="en-US" dirty="0"/>
          </a:p>
        </p:txBody>
      </p:sp>
      <p:sp>
        <p:nvSpPr>
          <p:cNvPr id="3" name="TextBox 2"/>
          <p:cNvSpPr txBox="1"/>
          <p:nvPr/>
        </p:nvSpPr>
        <p:spPr>
          <a:xfrm>
            <a:off x="537357" y="5284510"/>
            <a:ext cx="8357260" cy="1092607"/>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2000" b="0" dirty="0">
                <a:latin typeface="+mn-lt"/>
              </a:rPr>
              <a:t>Increasing disputes over existing sources of water in California.</a:t>
            </a:r>
          </a:p>
          <a:p>
            <a:pPr marL="285750" indent="-285750">
              <a:spcAft>
                <a:spcPts val="600"/>
              </a:spcAft>
              <a:buFont typeface="Arial" panose="020B0604020202020204" pitchFamily="34" charset="0"/>
              <a:buChar char="•"/>
            </a:pPr>
            <a:r>
              <a:rPr lang="en-US" sz="2000" b="0" dirty="0">
                <a:latin typeface="+mn-lt"/>
              </a:rPr>
              <a:t>The cost (price per m</a:t>
            </a:r>
            <a:r>
              <a:rPr lang="en-US" sz="2000" b="0" baseline="30000" dirty="0">
                <a:latin typeface="+mn-lt"/>
              </a:rPr>
              <a:t>3</a:t>
            </a:r>
            <a:r>
              <a:rPr lang="en-US" sz="2000" b="0" dirty="0">
                <a:latin typeface="+mn-lt"/>
              </a:rPr>
              <a:t>) of imported water has doubled in the last 15 years and continues to rise.</a:t>
            </a:r>
          </a:p>
        </p:txBody>
      </p:sp>
    </p:spTree>
    <p:extLst>
      <p:ext uri="{BB962C8B-B14F-4D97-AF65-F5344CB8AC3E}">
        <p14:creationId xmlns:p14="http://schemas.microsoft.com/office/powerpoint/2010/main" val="1470180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t it was not the first</a:t>
            </a:r>
          </a:p>
        </p:txBody>
      </p:sp>
      <p:sp>
        <p:nvSpPr>
          <p:cNvPr id="3" name="Content Placeholder 2"/>
          <p:cNvSpPr>
            <a:spLocks noGrp="1"/>
          </p:cNvSpPr>
          <p:nvPr>
            <p:ph sz="quarter" idx="12"/>
          </p:nvPr>
        </p:nvSpPr>
        <p:spPr/>
        <p:txBody>
          <a:bodyPr/>
          <a:lstStyle/>
          <a:p>
            <a:endParaRPr lang="en-US"/>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4</a:t>
            </a:fld>
            <a:endParaRPr 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668" y="1314289"/>
            <a:ext cx="7734300" cy="49833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1869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few examples of drought response in California</a:t>
            </a:r>
          </a:p>
        </p:txBody>
      </p:sp>
      <p:sp>
        <p:nvSpPr>
          <p:cNvPr id="3" name="Content Placeholder 2"/>
          <p:cNvSpPr>
            <a:spLocks noGrp="1"/>
          </p:cNvSpPr>
          <p:nvPr>
            <p:ph sz="quarter" idx="12"/>
          </p:nvPr>
        </p:nvSpPr>
        <p:spPr/>
        <p:txBody>
          <a:bodyPr/>
          <a:lstStyle/>
          <a:p>
            <a:pPr marL="457200" indent="-457200">
              <a:buFont typeface="Arial" panose="020B0604020202020204" pitchFamily="34" charset="0"/>
              <a:buChar char="•"/>
            </a:pPr>
            <a:r>
              <a:rPr lang="en-US" dirty="0"/>
              <a:t>Conservation in Irvine Ranch Water District</a:t>
            </a:r>
          </a:p>
          <a:p>
            <a:pPr marL="457200" indent="-457200">
              <a:buFont typeface="Arial" panose="020B0604020202020204" pitchFamily="34" charset="0"/>
              <a:buChar char="•"/>
            </a:pPr>
            <a:r>
              <a:rPr lang="en-US" dirty="0"/>
              <a:t>Water Banking in Kern County</a:t>
            </a:r>
          </a:p>
          <a:p>
            <a:pPr marL="457200" indent="-457200">
              <a:buFont typeface="Arial" panose="020B0604020202020204" pitchFamily="34" charset="0"/>
              <a:buChar char="•"/>
            </a:pPr>
            <a:r>
              <a:rPr lang="en-US" dirty="0"/>
              <a:t>Agriculture to Urban transfer in San Diego County</a:t>
            </a:r>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5</a:t>
            </a:fld>
            <a:endParaRPr lang="en-US" dirty="0"/>
          </a:p>
        </p:txBody>
      </p:sp>
    </p:spTree>
    <p:extLst>
      <p:ext uri="{BB962C8B-B14F-4D97-AF65-F5344CB8AC3E}">
        <p14:creationId xmlns:p14="http://schemas.microsoft.com/office/powerpoint/2010/main" val="40157613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ervation:</a:t>
            </a:r>
          </a:p>
        </p:txBody>
      </p:sp>
      <p:sp>
        <p:nvSpPr>
          <p:cNvPr id="3" name="Text Placeholder 2"/>
          <p:cNvSpPr>
            <a:spLocks noGrp="1"/>
          </p:cNvSpPr>
          <p:nvPr>
            <p:ph type="body" sz="quarter" idx="13"/>
          </p:nvPr>
        </p:nvSpPr>
        <p:spPr/>
        <p:txBody>
          <a:bodyPr/>
          <a:lstStyle/>
          <a:p>
            <a:r>
              <a:rPr lang="en-US" dirty="0"/>
              <a:t>Irvine Ranch Water District</a:t>
            </a:r>
          </a:p>
        </p:txBody>
      </p:sp>
    </p:spTree>
    <p:extLst>
      <p:ext uri="{BB962C8B-B14F-4D97-AF65-F5344CB8AC3E}">
        <p14:creationId xmlns:p14="http://schemas.microsoft.com/office/powerpoint/2010/main" val="704566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a:xfrm>
            <a:off x="6469380" y="6035040"/>
            <a:ext cx="2503170" cy="627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Governor Brown’s conservation mandate</a:t>
            </a:r>
          </a:p>
        </p:txBody>
      </p:sp>
      <p:graphicFrame>
        <p:nvGraphicFramePr>
          <p:cNvPr id="5" name="Content Placeholder 4"/>
          <p:cNvGraphicFramePr>
            <a:graphicFrameLocks noGrp="1"/>
          </p:cNvGraphicFramePr>
          <p:nvPr>
            <p:ph sz="quarter" idx="12"/>
            <p:extLst>
              <p:ext uri="{D42A27DB-BD31-4B8C-83A1-F6EECF244321}">
                <p14:modId xmlns:p14="http://schemas.microsoft.com/office/powerpoint/2010/main" val="3595809039"/>
              </p:ext>
            </p:extLst>
          </p:nvPr>
        </p:nvGraphicFramePr>
        <p:xfrm>
          <a:off x="457200" y="857250"/>
          <a:ext cx="8229600" cy="2899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7</a:t>
            </a:fld>
            <a:endParaRPr lang="en-US" dirty="0"/>
          </a:p>
        </p:txBody>
      </p:sp>
      <p:pic>
        <p:nvPicPr>
          <p:cNvPr id="6" name="Picture 5" descr="Screen Shot 2016-07-08 at 11.58.00 AM.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652352" y="3461461"/>
            <a:ext cx="5839295" cy="3327959"/>
          </a:xfrm>
          <a:prstGeom prst="rect">
            <a:avLst/>
          </a:prstGeom>
        </p:spPr>
      </p:pic>
    </p:spTree>
    <p:extLst>
      <p:ext uri="{BB962C8B-B14F-4D97-AF65-F5344CB8AC3E}">
        <p14:creationId xmlns:p14="http://schemas.microsoft.com/office/powerpoint/2010/main" val="1490175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17488"/>
            <a:ext cx="8229600" cy="709612"/>
          </a:xfrm>
        </p:spPr>
        <p:txBody>
          <a:bodyPr/>
          <a:lstStyle/>
          <a:p>
            <a:r>
              <a:rPr lang="en-US" dirty="0"/>
              <a:t>And the limitations of conservation</a:t>
            </a:r>
          </a:p>
        </p:txBody>
      </p:sp>
      <p:sp>
        <p:nvSpPr>
          <p:cNvPr id="3" name="Content Placeholder 2"/>
          <p:cNvSpPr>
            <a:spLocks noGrp="1"/>
          </p:cNvSpPr>
          <p:nvPr>
            <p:ph sz="quarter" idx="12"/>
          </p:nvPr>
        </p:nvSpPr>
        <p:spPr/>
        <p:txBody>
          <a:bodyPr/>
          <a:lstStyle/>
          <a:p>
            <a:endParaRPr lang="en-US"/>
          </a:p>
        </p:txBody>
      </p:sp>
      <p:sp>
        <p:nvSpPr>
          <p:cNvPr id="4" name="Slide Number Placeholder 3"/>
          <p:cNvSpPr>
            <a:spLocks noGrp="1"/>
          </p:cNvSpPr>
          <p:nvPr>
            <p:ph type="sldNum" sz="quarter" idx="13"/>
          </p:nvPr>
        </p:nvSpPr>
        <p:spPr/>
        <p:txBody>
          <a:bodyPr/>
          <a:lstStyle/>
          <a:p>
            <a:pPr>
              <a:defRPr/>
            </a:pPr>
            <a:fld id="{CED1F815-D633-493B-9D9F-09FEFB34488E}" type="slidenum">
              <a:rPr lang="en-US" smtClean="0"/>
              <a:pPr>
                <a:defRPr/>
              </a:pPr>
              <a:t>8</a:t>
            </a:fld>
            <a:endParaRPr lang="en-US" dirty="0"/>
          </a:p>
        </p:txBody>
      </p:sp>
      <p:pic>
        <p:nvPicPr>
          <p:cNvPr id="5" name="Picture 4" descr="Screen Shot 2016-10-06 at 2.06.05 PM.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28600" y="1337237"/>
            <a:ext cx="7200900" cy="5238901"/>
          </a:xfrm>
          <a:prstGeom prst="rect">
            <a:avLst/>
          </a:prstGeom>
        </p:spPr>
      </p:pic>
    </p:spTree>
    <p:extLst>
      <p:ext uri="{BB962C8B-B14F-4D97-AF65-F5344CB8AC3E}">
        <p14:creationId xmlns:p14="http://schemas.microsoft.com/office/powerpoint/2010/main" val="2846545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3Zl6We25ECP79QuOSnU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3Zl6We25ECP79QuOSnUIg"/>
</p:tagLst>
</file>

<file path=ppt/tags/tag3.xml><?xml version="1.0" encoding="utf-8"?>
<p:tagLst xmlns:a="http://schemas.openxmlformats.org/drawingml/2006/main" xmlns:r="http://schemas.openxmlformats.org/officeDocument/2006/relationships" xmlns:p="http://schemas.openxmlformats.org/presentationml/2006/main">
  <p:tag name="ENAME" val="NOTMANAGED"/>
  <p:tag name="PBCOMPONENT" val="SHAPE"/>
  <p:tag name="PBLAYOUTS" val="A,B,C,D,F"/>
  <p:tag name="IGNOREFONTNONCOMPLIANCE" val="0"/>
  <p:tag name="IGNORECOLORLINESNONCOMPLIANCE" val="0"/>
  <p:tag name="IGNOREPOSITIONNONCOMPLIANCE" val="0"/>
  <p:tag name="POSITIONTOP" val="348"/>
  <p:tag name="POSITIONLEFT" val="54"/>
  <p:tag name="IGNORESIZENONCOMPLIANCE" val="0"/>
  <p:tag name="SIZEWIDTH" val="683.75"/>
  <p:tag name="SIZEHEIGHT" val="174"/>
</p:tagLst>
</file>

<file path=ppt/theme/theme1.xml><?xml version="1.0" encoding="utf-8"?>
<a:theme xmlns:a="http://schemas.openxmlformats.org/drawingml/2006/main" name="Title Slide">
  <a:themeElements>
    <a:clrScheme name="Custom 1">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txDef>
      <a:spPr bwMode="auto">
        <a:noFill/>
        <a:ln w="9525">
          <a:noFill/>
          <a:miter lim="800000"/>
          <a:headEnd/>
          <a:tailEnd/>
        </a:ln>
      </a:spPr>
      <a:bodyPr vert="horz" wrap="square" lIns="0" tIns="0" rIns="0" bIns="0" numCol="1" anchor="t" anchorCtr="0" compatLnSpc="1">
        <a:prstTxWarp prst="textNoShape">
          <a:avLst/>
        </a:prstTxWarp>
      </a:bodyPr>
      <a:lstStyle>
        <a:defPPr>
          <a:spcBef>
            <a:spcPts val="400"/>
          </a:spcBef>
          <a:defRPr sz="2400" b="0" kern="0" dirty="0" smtClean="0"/>
        </a:defPPr>
      </a:lstStyle>
    </a:tx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xt Slides">
  <a:themeElements>
    <a:clrScheme name="World Bank Water">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Slides">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txDef>
      <a:spPr bwMode="auto">
        <a:noFill/>
        <a:ln w="9525">
          <a:noFill/>
          <a:miter lim="800000"/>
          <a:headEnd/>
          <a:tailEnd/>
        </a:ln>
      </a:spPr>
      <a:bodyPr vert="horz" wrap="square" lIns="0" tIns="0" rIns="0" bIns="0" numCol="1" anchor="t" anchorCtr="0" compatLnSpc="1">
        <a:prstTxWarp prst="textNoShape">
          <a:avLst/>
        </a:prstTxWarp>
      </a:bodyPr>
      <a:lstStyle>
        <a:defPPr>
          <a:spcBef>
            <a:spcPts val="400"/>
          </a:spcBef>
          <a:defRPr sz="2400" b="0" kern="0" dirty="0" smtClean="0"/>
        </a:defPPr>
      </a:lstStyle>
    </a:tx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losing slide">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txDef>
      <a:spPr bwMode="auto">
        <a:noFill/>
        <a:ln w="9525">
          <a:noFill/>
          <a:miter lim="800000"/>
          <a:headEnd/>
          <a:tailEnd/>
        </a:ln>
      </a:spPr>
      <a:bodyPr vert="horz" wrap="square" lIns="0" tIns="0" rIns="0" bIns="0" numCol="1" anchor="t" anchorCtr="0" compatLnSpc="1">
        <a:prstTxWarp prst="textNoShape">
          <a:avLst/>
        </a:prstTxWarp>
      </a:bodyPr>
      <a:lstStyle>
        <a:defPPr>
          <a:spcBef>
            <a:spcPts val="400"/>
          </a:spcBef>
          <a:defRPr sz="2400" b="0" kern="0" dirty="0" smtClean="0"/>
        </a:defPPr>
      </a:lstStyle>
    </a:tx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WBG-Any_Logo-Cobranded</Template>
  <TotalTime>13694</TotalTime>
  <Words>1648</Words>
  <Application>Microsoft Office PowerPoint</Application>
  <PresentationFormat>On-screen Show (4:3)</PresentationFormat>
  <Paragraphs>229</Paragraphs>
  <Slides>27</Slides>
  <Notes>16</Notes>
  <HiddenSlides>2</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0" baseType="lpstr">
      <vt:lpstr>MS PGothic</vt:lpstr>
      <vt:lpstr>Andes ExtraLight</vt:lpstr>
      <vt:lpstr>Arial</vt:lpstr>
      <vt:lpstr>Arial Bold</vt:lpstr>
      <vt:lpstr>Calibri</vt:lpstr>
      <vt:lpstr>Times New Roman</vt:lpstr>
      <vt:lpstr>Trebuchet MS</vt:lpstr>
      <vt:lpstr>Wingdings</vt:lpstr>
      <vt:lpstr>Title Slide</vt:lpstr>
      <vt:lpstr>Text Slides</vt:lpstr>
      <vt:lpstr>Section Slides</vt:lpstr>
      <vt:lpstr>Closing slide</vt:lpstr>
      <vt:lpstr>Microsoft Excel 97-2003 Worksheet</vt:lpstr>
      <vt:lpstr>   Drought Response The California Experience</vt:lpstr>
      <vt:lpstr>California water – where does it come from?</vt:lpstr>
      <vt:lpstr>This leads to complex institutions</vt:lpstr>
      <vt:lpstr>A Record-Breaking Drought hits California</vt:lpstr>
      <vt:lpstr>But it was not the first</vt:lpstr>
      <vt:lpstr>A few examples of drought response in California</vt:lpstr>
      <vt:lpstr>Conservation:</vt:lpstr>
      <vt:lpstr>Governor Brown’s conservation mandate</vt:lpstr>
      <vt:lpstr>And the limitations of conservation</vt:lpstr>
      <vt:lpstr>Irvine Ranch Water District</vt:lpstr>
      <vt:lpstr>IWRD – A few facts</vt:lpstr>
      <vt:lpstr>IWRD’s conservation strategy – water pricing</vt:lpstr>
      <vt:lpstr>Rate structure</vt:lpstr>
      <vt:lpstr>Implementing the rate structure</vt:lpstr>
      <vt:lpstr>Sample bills</vt:lpstr>
      <vt:lpstr>IRWD: Results</vt:lpstr>
      <vt:lpstr>IWRD: Drought-proofing</vt:lpstr>
      <vt:lpstr>Water Banking:</vt:lpstr>
      <vt:lpstr>Kern County</vt:lpstr>
      <vt:lpstr>Water Banking basics</vt:lpstr>
      <vt:lpstr>Water banking arrangements</vt:lpstr>
      <vt:lpstr>Agriculture to Urban Transfer:</vt:lpstr>
      <vt:lpstr>San Diego County Water Authority</vt:lpstr>
      <vt:lpstr>The Quantification Settlement Agreement</vt:lpstr>
      <vt:lpstr>How did it work?</vt:lpstr>
      <vt:lpstr>The plan for IID</vt:lpstr>
      <vt:lpstr>Thank you</vt:lpstr>
    </vt:vector>
  </TitlesOfParts>
  <Company>The World Bank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ta Marie Julie De Pooter</dc:creator>
  <cp:lastModifiedBy>Clementine Marie Stip</cp:lastModifiedBy>
  <cp:revision>744</cp:revision>
  <cp:lastPrinted>2016-02-29T22:19:44Z</cp:lastPrinted>
  <dcterms:created xsi:type="dcterms:W3CDTF">2014-07-28T18:22:11Z</dcterms:created>
  <dcterms:modified xsi:type="dcterms:W3CDTF">2017-07-10T05:45:20Z</dcterms:modified>
</cp:coreProperties>
</file>